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135f9fda2f104c06" Type="http://schemas.microsoft.com/office/2007/relationships/ui/extensibility" Target="customUI/customUI14.xml"/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7"/>
  </p:sldMasterIdLst>
  <p:notesMasterIdLst>
    <p:notesMasterId r:id="rId40"/>
  </p:notesMasterIdLst>
  <p:handoutMasterIdLst>
    <p:handoutMasterId r:id="rId41"/>
  </p:handoutMasterIdLst>
  <p:sldIdLst>
    <p:sldId id="868" r:id="rId8"/>
    <p:sldId id="908" r:id="rId9"/>
    <p:sldId id="1057" r:id="rId10"/>
    <p:sldId id="909" r:id="rId11"/>
    <p:sldId id="1055" r:id="rId12"/>
    <p:sldId id="1054" r:id="rId13"/>
    <p:sldId id="1061" r:id="rId14"/>
    <p:sldId id="1058" r:id="rId15"/>
    <p:sldId id="1048" r:id="rId16"/>
    <p:sldId id="1059" r:id="rId17"/>
    <p:sldId id="281" r:id="rId18"/>
    <p:sldId id="279" r:id="rId19"/>
    <p:sldId id="1049" r:id="rId20"/>
    <p:sldId id="1050" r:id="rId21"/>
    <p:sldId id="1051" r:id="rId22"/>
    <p:sldId id="1052" r:id="rId23"/>
    <p:sldId id="1053" r:id="rId24"/>
    <p:sldId id="890" r:id="rId25"/>
    <p:sldId id="892" r:id="rId26"/>
    <p:sldId id="893" r:id="rId27"/>
    <p:sldId id="895" r:id="rId28"/>
    <p:sldId id="900" r:id="rId29"/>
    <p:sldId id="894" r:id="rId30"/>
    <p:sldId id="881" r:id="rId31"/>
    <p:sldId id="896" r:id="rId32"/>
    <p:sldId id="280" r:id="rId33"/>
    <p:sldId id="262" r:id="rId34"/>
    <p:sldId id="1028" r:id="rId35"/>
    <p:sldId id="1005" r:id="rId36"/>
    <p:sldId id="1041" r:id="rId37"/>
    <p:sldId id="1042" r:id="rId38"/>
    <p:sldId id="1060" r:id="rId39"/>
  </p:sldIdLst>
  <p:sldSz cx="9601200" cy="6858000"/>
  <p:notesSz cx="6805613" cy="9944100"/>
  <p:custDataLst>
    <p:tags r:id="rId4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2">
          <p15:clr>
            <a:srgbClr val="A4A3A4"/>
          </p15:clr>
        </p15:guide>
        <p15:guide id="2" orient="horz" pos="882">
          <p15:clr>
            <a:srgbClr val="A4A3A4"/>
          </p15:clr>
        </p15:guide>
        <p15:guide id="3" orient="horz" pos="3992">
          <p15:clr>
            <a:srgbClr val="A4A3A4"/>
          </p15:clr>
        </p15:guide>
        <p15:guide id="4" pos="288">
          <p15:clr>
            <a:srgbClr val="A4A3A4"/>
          </p15:clr>
        </p15:guide>
        <p15:guide id="5" pos="57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5809" userDrawn="1">
          <p15:clr>
            <a:srgbClr val="A4A3A4"/>
          </p15:clr>
        </p15:guide>
        <p15:guide id="2" orient="horz" pos="2983" userDrawn="1">
          <p15:clr>
            <a:srgbClr val="A4A3A4"/>
          </p15:clr>
        </p15:guide>
        <p15:guide id="3" pos="429" userDrawn="1">
          <p15:clr>
            <a:srgbClr val="A4A3A4"/>
          </p15:clr>
        </p15:guide>
        <p15:guide id="4" pos="387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oores, Edward" initials="EM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6706D"/>
    <a:srgbClr val="BDDDA3"/>
    <a:srgbClr val="606060"/>
    <a:srgbClr val="92D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Oliver Wyman - defaul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accent4"/>
              </a:solidFill>
            </a:ln>
          </a:bottom>
          <a:insideH>
            <a:ln w="9525" cap="flat" cmpd="sng" algn="ctr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5763" autoAdjust="0"/>
    <p:restoredTop sz="94764" autoAdjust="0"/>
  </p:normalViewPr>
  <p:slideViewPr>
    <p:cSldViewPr snapToGrid="0" showGuides="1">
      <p:cViewPr varScale="1">
        <p:scale>
          <a:sx n="93" d="100"/>
          <a:sy n="93" d="100"/>
        </p:scale>
        <p:origin x="984" y="57"/>
      </p:cViewPr>
      <p:guideLst>
        <p:guide orient="horz" pos="242"/>
        <p:guide orient="horz" pos="882"/>
        <p:guide orient="horz" pos="3992"/>
        <p:guide pos="288"/>
        <p:guide pos="57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332"/>
    </p:cViewPr>
  </p:sorterViewPr>
  <p:notesViewPr>
    <p:cSldViewPr snapToGrid="0" showGuides="1">
      <p:cViewPr varScale="1">
        <p:scale>
          <a:sx n="61" d="100"/>
          <a:sy n="61" d="100"/>
        </p:scale>
        <p:origin x="2691" y="54"/>
      </p:cViewPr>
      <p:guideLst>
        <p:guide orient="horz" pos="5809"/>
        <p:guide orient="horz" pos="2983"/>
        <p:guide pos="429"/>
        <p:guide pos="387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tags" Target="tags/tag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notesMaster" Target="notesMasters/notesMaster1.xml"/><Relationship Id="rId45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/>
          <a:lstStyle>
            <a:lvl1pPr algn="l">
              <a:defRPr sz="13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940" y="2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/>
          <a:lstStyle>
            <a:lvl1pPr algn="r">
              <a:defRPr sz="1300"/>
            </a:lvl1pPr>
          </a:lstStyle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5171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 anchor="b"/>
          <a:lstStyle>
            <a:lvl1pPr algn="l">
              <a:defRPr sz="1300"/>
            </a:lvl1pPr>
          </a:lstStyle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940" y="9445171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 anchor="b"/>
          <a:lstStyle>
            <a:lvl1pPr algn="r">
              <a:defRPr sz="1300"/>
            </a:lvl1pPr>
          </a:lstStyle>
          <a:p>
            <a:fld id="{BA3551F4-B388-414C-93DE-355D7B348288}" type="slidenum">
              <a:rPr lang="en-GB" smtClean="0">
                <a:solidFill>
                  <a:schemeClr val="accent3"/>
                </a:solidFill>
              </a:rPr>
              <a:t>‹#›</a:t>
            </a:fld>
            <a:endParaRPr lang="en-GB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6022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/>
          <a:lstStyle>
            <a:lvl1pPr algn="l">
              <a:defRPr sz="13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40" y="2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/>
          <a:lstStyle>
            <a:lvl1pPr algn="r">
              <a:defRPr sz="1300"/>
            </a:lvl1pPr>
          </a:lstStyle>
          <a:p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92163" y="746125"/>
            <a:ext cx="5221287" cy="3730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62" tIns="46682" rIns="93362" bIns="46682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23448"/>
            <a:ext cx="5444490" cy="44748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28600" indent="-228600">
              <a:spcBef>
                <a:spcPct val="60000"/>
              </a:spcBef>
              <a:spcAft>
                <a:spcPts val="600"/>
              </a:spcAft>
              <a:buFontTx/>
              <a:buChar char="•"/>
            </a:pPr>
            <a:r>
              <a:rPr lang="en-GB" dirty="0"/>
              <a:t>Click to edit Master text styles</a:t>
            </a:r>
          </a:p>
          <a:p>
            <a:pPr lvl="1" indent="-233406">
              <a:spcAft>
                <a:spcPts val="612"/>
              </a:spcAft>
              <a:buFont typeface="Arial" charset="0"/>
              <a:buChar char="–"/>
            </a:pPr>
            <a:r>
              <a:rPr lang="en-GB" dirty="0"/>
              <a:t>2nd level</a:t>
            </a:r>
          </a:p>
          <a:p>
            <a:pPr marL="700216" lvl="2" indent="-233406">
              <a:spcAft>
                <a:spcPts val="612"/>
              </a:spcAft>
              <a:buFont typeface="Arial" charset="0"/>
              <a:buChar char="-"/>
            </a:pPr>
            <a:r>
              <a:rPr lang="en-GB" dirty="0"/>
              <a:t>3rd level</a:t>
            </a:r>
          </a:p>
          <a:p>
            <a:pPr marL="933621" lvl="3" indent="-233406">
              <a:spcAft>
                <a:spcPts val="612"/>
              </a:spcAft>
              <a:buFont typeface="Arial" charset="0"/>
              <a:buChar char="-"/>
            </a:pPr>
            <a:r>
              <a:rPr lang="en-GB" dirty="0"/>
              <a:t>4th level</a:t>
            </a:r>
          </a:p>
          <a:p>
            <a:pPr marL="1167027" lvl="4" indent="-233406">
              <a:spcAft>
                <a:spcPts val="612"/>
              </a:spcAft>
              <a:buFont typeface="Arial" panose="020B0604020202020204" pitchFamily="34" charset="0"/>
              <a:buChar char="-"/>
            </a:pPr>
            <a:r>
              <a:rPr lang="en-GB" dirty="0"/>
              <a:t>5th level</a:t>
            </a:r>
          </a:p>
          <a:p>
            <a:pPr marL="1400431" lvl="5" indent="-233406" fontAlgn="base">
              <a:spcAft>
                <a:spcPts val="612"/>
              </a:spcAft>
              <a:buFont typeface="Arial" charset="0"/>
              <a:buChar char="-"/>
            </a:pPr>
            <a:r>
              <a:rPr lang="en-GB" dirty="0"/>
              <a:t>6th level</a:t>
            </a:r>
          </a:p>
          <a:p>
            <a:pPr marL="1633837" lvl="6" indent="-233406" fontAlgn="base">
              <a:spcAft>
                <a:spcPts val="612"/>
              </a:spcAft>
              <a:buFont typeface="Arial" charset="0"/>
              <a:buChar char="-"/>
            </a:pPr>
            <a:r>
              <a:rPr lang="en-GB" dirty="0"/>
              <a:t>7th level</a:t>
            </a:r>
          </a:p>
          <a:p>
            <a:pPr marL="1867241" lvl="7" indent="-233406" fontAlgn="base">
              <a:spcAft>
                <a:spcPts val="612"/>
              </a:spcAft>
              <a:buFont typeface="Arial" charset="0"/>
              <a:buChar char="-"/>
            </a:pPr>
            <a:r>
              <a:rPr lang="en-GB" dirty="0"/>
              <a:t>8th level</a:t>
            </a:r>
          </a:p>
          <a:p>
            <a:pPr marL="2100648" lvl="8" indent="-233406" fontAlgn="base">
              <a:spcAft>
                <a:spcPts val="612"/>
              </a:spcAft>
              <a:buFont typeface="Arial" charset="0"/>
              <a:buChar char="-"/>
            </a:pPr>
            <a:r>
              <a:rPr lang="en-GB" dirty="0"/>
              <a:t>9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5171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 anchor="b"/>
          <a:lstStyle>
            <a:lvl1pPr algn="l">
              <a:defRPr sz="13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40" y="9445171"/>
            <a:ext cx="2949099" cy="497205"/>
          </a:xfrm>
          <a:prstGeom prst="rect">
            <a:avLst/>
          </a:prstGeom>
        </p:spPr>
        <p:txBody>
          <a:bodyPr vert="horz" lIns="93362" tIns="46682" rIns="93362" bIns="46682" rtlCol="0" anchor="b"/>
          <a:lstStyle>
            <a:lvl1pPr algn="r">
              <a:defRPr sz="1300">
                <a:solidFill>
                  <a:schemeClr val="accent3"/>
                </a:solidFill>
              </a:defRPr>
            </a:lvl1pPr>
          </a:lstStyle>
          <a:p>
            <a:fld id="{7DD12170-B4D9-4504-9406-AC0F9EF8E6E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00474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220828" indent="-220828" algn="l" defTabSz="914400" rtl="0" eaLnBrk="1" latinLnBrk="0" hangingPunct="1">
      <a:spcBef>
        <a:spcPct val="60000"/>
      </a:spcBef>
      <a:spcAft>
        <a:spcPts val="580"/>
      </a:spcAft>
      <a:buFontTx/>
      <a:buChar char="•"/>
      <a:defRPr lang="en-US" sz="1200" kern="1200" dirty="0" smtClean="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en-US" sz="1200" kern="1200" dirty="0" smtClean="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en-US" sz="1200" kern="1200" dirty="0" smtClean="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en-US" sz="1200" kern="1200" dirty="0" smtClean="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en-US" sz="1200" kern="1200" dirty="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D12170-B4D9-4504-9406-AC0F9EF8E6EC}" type="slidenum">
              <a:rPr lang="en-GB" smtClean="0"/>
              <a:pPr/>
              <a:t>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96655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cover">
    <p:bg>
      <p:bgPr>
        <a:solidFill>
          <a:srgbClr val="06706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405" descr="C:\Users\Ben.Helps\Documents\BGH at MOW\BGH projects\current\HPI 143-01 credit passport\D. Intellectual property\1. Logos\Factern\Factern Blue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091"/>
          <a:stretch/>
        </p:blipFill>
        <p:spPr bwMode="auto">
          <a:xfrm>
            <a:off x="709613" y="1310270"/>
            <a:ext cx="2438553" cy="2106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1037619" y="3246129"/>
            <a:ext cx="178253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GB" sz="2400" dirty="0">
                <a:solidFill>
                  <a:schemeClr val="bg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F A C T E R N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1037619" y="5184266"/>
            <a:ext cx="2620589" cy="307777"/>
          </a:xfrm>
          <a:prstGeom prst="rect">
            <a:avLst/>
          </a:prstGeom>
        </p:spPr>
        <p:txBody>
          <a:bodyPr wrap="none" l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IVATE AND CONFIDENTIA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038225" y="3924300"/>
            <a:ext cx="6562725" cy="105727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3736" indent="0">
              <a:buNone/>
              <a:defRPr>
                <a:solidFill>
                  <a:schemeClr val="bg1"/>
                </a:solidFill>
              </a:defRPr>
            </a:lvl2pPr>
            <a:lvl3pPr marL="356616" indent="0">
              <a:buNone/>
              <a:defRPr>
                <a:solidFill>
                  <a:schemeClr val="bg1"/>
                </a:solidFill>
              </a:defRPr>
            </a:lvl3pPr>
            <a:lvl4pPr marL="539496" indent="0">
              <a:buNone/>
              <a:defRPr>
                <a:solidFill>
                  <a:schemeClr val="bg1"/>
                </a:solidFill>
              </a:defRPr>
            </a:lvl4pPr>
            <a:lvl5pPr marL="71323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65045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Right"/>
          <p:cNvSpPr>
            <a:spLocks noGrp="1"/>
          </p:cNvSpPr>
          <p:nvPr>
            <p:ph sz="quarter" idx="12"/>
          </p:nvPr>
        </p:nvSpPr>
        <p:spPr>
          <a:xfrm>
            <a:off x="5029200" y="1883664"/>
            <a:ext cx="4114800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0" y="1399032"/>
            <a:ext cx="4114800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Content Left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4114800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ing Left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4114800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236787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0" y="1399032"/>
            <a:ext cx="4114800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Left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4114800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526215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 Bottom"/>
          <p:cNvSpPr>
            <a:spLocks noGrp="1"/>
          </p:cNvSpPr>
          <p:nvPr>
            <p:ph sz="quarter" idx="20"/>
          </p:nvPr>
        </p:nvSpPr>
        <p:spPr>
          <a:xfrm>
            <a:off x="5029200" y="4005072"/>
            <a:ext cx="4114800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Left Bottom"/>
          <p:cNvSpPr>
            <a:spLocks noGrp="1"/>
          </p:cNvSpPr>
          <p:nvPr>
            <p:ph sz="quarter" idx="19"/>
          </p:nvPr>
        </p:nvSpPr>
        <p:spPr>
          <a:xfrm>
            <a:off x="457200" y="4005072"/>
            <a:ext cx="4114800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Right Top"/>
          <p:cNvSpPr>
            <a:spLocks noGrp="1"/>
          </p:cNvSpPr>
          <p:nvPr>
            <p:ph sz="quarter" idx="18"/>
          </p:nvPr>
        </p:nvSpPr>
        <p:spPr>
          <a:xfrm>
            <a:off x="5029200" y="1399032"/>
            <a:ext cx="4114800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399032"/>
            <a:ext cx="4114800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10841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672ECA6-EAD2-49B5-8EB1-46119707712D}"/>
              </a:ext>
            </a:extLst>
          </p:cNvPr>
          <p:cNvSpPr>
            <a:spLocks noChangeAspect="1"/>
          </p:cNvSpPr>
          <p:nvPr userDrawn="1"/>
        </p:nvSpPr>
        <p:spPr>
          <a:xfrm>
            <a:off x="457200" y="1335046"/>
            <a:ext cx="753620" cy="753617"/>
          </a:xfrm>
          <a:prstGeom prst="ellipse">
            <a:avLst/>
          </a:prstGeom>
          <a:solidFill>
            <a:srgbClr val="0670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</a:pPr>
            <a:r>
              <a:rPr lang="en-US" sz="3200" b="1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43320EA4-1B52-49B9-A2FB-551947637B44}"/>
              </a:ext>
            </a:extLst>
          </p:cNvPr>
          <p:cNvSpPr>
            <a:spLocks noChangeAspect="1"/>
          </p:cNvSpPr>
          <p:nvPr userDrawn="1"/>
        </p:nvSpPr>
        <p:spPr>
          <a:xfrm>
            <a:off x="3406140" y="1335046"/>
            <a:ext cx="753620" cy="75361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</a:pPr>
            <a:r>
              <a:rPr lang="en-AU" sz="3200" b="1" dirty="0">
                <a:solidFill>
                  <a:srgbClr val="FFFFFF"/>
                </a:solidFill>
                <a:latin typeface="+mj-lt"/>
              </a:rPr>
              <a:t>2</a:t>
            </a:r>
            <a:endParaRPr lang="en-US" sz="32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CA69C3FD-BBD8-4EA9-B784-3A3D8E7B1BF7}"/>
              </a:ext>
            </a:extLst>
          </p:cNvPr>
          <p:cNvSpPr>
            <a:spLocks noChangeAspect="1"/>
          </p:cNvSpPr>
          <p:nvPr userDrawn="1"/>
        </p:nvSpPr>
        <p:spPr>
          <a:xfrm>
            <a:off x="6355080" y="1335046"/>
            <a:ext cx="753620" cy="753617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</a:pPr>
            <a:r>
              <a:rPr lang="en-US" sz="3200" b="1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690196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Rounded Rectangle 2"/>
          <p:cNvSpPr/>
          <p:nvPr userDrawn="1"/>
        </p:nvSpPr>
        <p:spPr>
          <a:xfrm>
            <a:off x="552449" y="1714893"/>
            <a:ext cx="4158343" cy="1898099"/>
          </a:xfrm>
          <a:prstGeom prst="roundRect">
            <a:avLst/>
          </a:prstGeom>
          <a:solidFill>
            <a:srgbClr val="06706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" name="Rounded Rectangle 3"/>
          <p:cNvSpPr/>
          <p:nvPr userDrawn="1"/>
        </p:nvSpPr>
        <p:spPr>
          <a:xfrm>
            <a:off x="4896644" y="1714892"/>
            <a:ext cx="4158343" cy="1898099"/>
          </a:xfrm>
          <a:prstGeom prst="roundRect">
            <a:avLst/>
          </a:prstGeom>
          <a:solidFill>
            <a:srgbClr val="06706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" name="Rounded Rectangle 4"/>
          <p:cNvSpPr/>
          <p:nvPr userDrawn="1"/>
        </p:nvSpPr>
        <p:spPr>
          <a:xfrm>
            <a:off x="540842" y="3930779"/>
            <a:ext cx="4158343" cy="1898099"/>
          </a:xfrm>
          <a:prstGeom prst="roundRect">
            <a:avLst/>
          </a:prstGeom>
          <a:solidFill>
            <a:srgbClr val="06706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" name="Rounded Rectangle 5"/>
          <p:cNvSpPr/>
          <p:nvPr userDrawn="1"/>
        </p:nvSpPr>
        <p:spPr>
          <a:xfrm>
            <a:off x="4885037" y="3930778"/>
            <a:ext cx="4158343" cy="1898099"/>
          </a:xfrm>
          <a:prstGeom prst="roundRect">
            <a:avLst/>
          </a:prstGeom>
          <a:solidFill>
            <a:srgbClr val="06706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28650" y="1790700"/>
            <a:ext cx="3971925" cy="1724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989852" y="1790700"/>
            <a:ext cx="3971925" cy="1724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628650" y="4017814"/>
            <a:ext cx="3971925" cy="1724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978245" y="4017814"/>
            <a:ext cx="3971925" cy="1724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77881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/>
          <p:cNvSpPr>
            <a:spLocks noChangeArrowheads="1"/>
          </p:cNvSpPr>
          <p:nvPr userDrawn="1"/>
        </p:nvSpPr>
        <p:spPr bwMode="auto">
          <a:xfrm>
            <a:off x="3447743" y="1619097"/>
            <a:ext cx="2528919" cy="2528919"/>
          </a:xfrm>
          <a:prstGeom prst="roundRect">
            <a:avLst>
              <a:gd name="adj" fmla="val 16667"/>
            </a:avLst>
          </a:prstGeom>
          <a:solidFill>
            <a:srgbClr val="06706D"/>
          </a:solidFill>
          <a:ln w="5397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>
              <a:buFont typeface="Wingdings" pitchFamily="2" charset="2"/>
              <a:buNone/>
            </a:pPr>
            <a:endParaRPr lang="en-GB" sz="1200">
              <a:latin typeface="Arial" pitchFamily="34" charset="0"/>
            </a:endParaRPr>
          </a:p>
        </p:txBody>
      </p:sp>
      <p:sp>
        <p:nvSpPr>
          <p:cNvPr id="5" name="Oval 6"/>
          <p:cNvSpPr/>
          <p:nvPr userDrawn="1"/>
        </p:nvSpPr>
        <p:spPr>
          <a:xfrm>
            <a:off x="3837662" y="2009016"/>
            <a:ext cx="1749078" cy="1749078"/>
          </a:xfrm>
          <a:custGeom>
            <a:avLst/>
            <a:gdLst/>
            <a:ahLst/>
            <a:cxnLst/>
            <a:rect l="l" t="t" r="r" b="b"/>
            <a:pathLst>
              <a:path w="583026" h="583026">
                <a:moveTo>
                  <a:pt x="195846" y="177249"/>
                </a:moveTo>
                <a:cubicBezTo>
                  <a:pt x="199456" y="173622"/>
                  <a:pt x="206676" y="173622"/>
                  <a:pt x="210287" y="177249"/>
                </a:cubicBezTo>
                <a:cubicBezTo>
                  <a:pt x="210287" y="177249"/>
                  <a:pt x="210287" y="177249"/>
                  <a:pt x="387180" y="278817"/>
                </a:cubicBezTo>
                <a:cubicBezTo>
                  <a:pt x="390790" y="282445"/>
                  <a:pt x="394400" y="286072"/>
                  <a:pt x="394400" y="289699"/>
                </a:cubicBezTo>
                <a:cubicBezTo>
                  <a:pt x="394400" y="296954"/>
                  <a:pt x="390790" y="300582"/>
                  <a:pt x="387180" y="304209"/>
                </a:cubicBezTo>
                <a:cubicBezTo>
                  <a:pt x="387180" y="304209"/>
                  <a:pt x="387180" y="304209"/>
                  <a:pt x="210287" y="405777"/>
                </a:cubicBezTo>
                <a:lnTo>
                  <a:pt x="203066" y="409404"/>
                </a:lnTo>
                <a:lnTo>
                  <a:pt x="195846" y="405777"/>
                </a:lnTo>
                <a:cubicBezTo>
                  <a:pt x="192236" y="402149"/>
                  <a:pt x="188626" y="398522"/>
                  <a:pt x="188626" y="394894"/>
                </a:cubicBezTo>
                <a:cubicBezTo>
                  <a:pt x="188626" y="394894"/>
                  <a:pt x="188626" y="394894"/>
                  <a:pt x="188626" y="188132"/>
                </a:cubicBezTo>
                <a:cubicBezTo>
                  <a:pt x="188626" y="184504"/>
                  <a:pt x="192236" y="180877"/>
                  <a:pt x="195846" y="177249"/>
                </a:cubicBezTo>
                <a:close/>
                <a:moveTo>
                  <a:pt x="291513" y="49197"/>
                </a:moveTo>
                <a:cubicBezTo>
                  <a:pt x="157686" y="49197"/>
                  <a:pt x="49197" y="157686"/>
                  <a:pt x="49197" y="291513"/>
                </a:cubicBezTo>
                <a:cubicBezTo>
                  <a:pt x="49197" y="425340"/>
                  <a:pt x="157686" y="533829"/>
                  <a:pt x="291513" y="533829"/>
                </a:cubicBezTo>
                <a:cubicBezTo>
                  <a:pt x="425340" y="533829"/>
                  <a:pt x="533829" y="425340"/>
                  <a:pt x="533829" y="291513"/>
                </a:cubicBezTo>
                <a:cubicBezTo>
                  <a:pt x="533829" y="157686"/>
                  <a:pt x="425340" y="49197"/>
                  <a:pt x="291513" y="49197"/>
                </a:cubicBezTo>
                <a:close/>
                <a:moveTo>
                  <a:pt x="291513" y="0"/>
                </a:moveTo>
                <a:cubicBezTo>
                  <a:pt x="452511" y="0"/>
                  <a:pt x="583026" y="130515"/>
                  <a:pt x="583026" y="291513"/>
                </a:cubicBezTo>
                <a:cubicBezTo>
                  <a:pt x="583026" y="452511"/>
                  <a:pt x="452511" y="583026"/>
                  <a:pt x="291513" y="583026"/>
                </a:cubicBezTo>
                <a:cubicBezTo>
                  <a:pt x="130515" y="583026"/>
                  <a:pt x="0" y="452511"/>
                  <a:pt x="0" y="291513"/>
                </a:cubicBezTo>
                <a:cubicBezTo>
                  <a:pt x="0" y="130515"/>
                  <a:pt x="130515" y="0"/>
                  <a:pt x="291513" y="0"/>
                </a:cubicBez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3151909" y="4491319"/>
            <a:ext cx="31248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GB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MONSTRATION</a:t>
            </a:r>
          </a:p>
        </p:txBody>
      </p:sp>
      <p:sp>
        <p:nvSpPr>
          <p:cNvPr id="7" name="DTP_Label|1"/>
          <p:cNvSpPr/>
          <p:nvPr userDrawn="1"/>
        </p:nvSpPr>
        <p:spPr>
          <a:xfrm>
            <a:off x="499732" y="84766"/>
            <a:ext cx="1622945" cy="24853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43" tIns="46863" rIns="90043" bIns="46863" rtlCol="0" anchor="b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GB" sz="1000" b="1" dirty="0">
                <a:solidFill>
                  <a:schemeClr val="accent4"/>
                </a:solidFill>
                <a:latin typeface="+mj-lt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5843687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 Bottom"/>
          <p:cNvSpPr>
            <a:spLocks noGrp="1"/>
          </p:cNvSpPr>
          <p:nvPr>
            <p:ph sz="quarter" idx="20"/>
          </p:nvPr>
        </p:nvSpPr>
        <p:spPr>
          <a:xfrm>
            <a:off x="5029200" y="4489704"/>
            <a:ext cx="4114800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1" name="Heading Right Bottom"/>
          <p:cNvSpPr>
            <a:spLocks noGrp="1"/>
          </p:cNvSpPr>
          <p:nvPr>
            <p:ph type="body" sz="quarter" idx="17" hasCustomPrompt="1"/>
          </p:nvPr>
        </p:nvSpPr>
        <p:spPr>
          <a:xfrm>
            <a:off x="5029200" y="400507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Content Left Bottom"/>
          <p:cNvSpPr>
            <a:spLocks noGrp="1"/>
          </p:cNvSpPr>
          <p:nvPr>
            <p:ph sz="quarter" idx="19"/>
          </p:nvPr>
        </p:nvSpPr>
        <p:spPr>
          <a:xfrm>
            <a:off x="457200" y="4489704"/>
            <a:ext cx="4114800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9" name="Heading Left Bottom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400507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Content Right Top"/>
          <p:cNvSpPr>
            <a:spLocks noGrp="1"/>
          </p:cNvSpPr>
          <p:nvPr>
            <p:ph sz="quarter" idx="18"/>
          </p:nvPr>
        </p:nvSpPr>
        <p:spPr>
          <a:xfrm>
            <a:off x="5029200" y="1883664"/>
            <a:ext cx="4114800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Heading Right Top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0" y="139903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4114800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ing Left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217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Heading Right Bottom"/>
          <p:cNvSpPr>
            <a:spLocks noGrp="1"/>
          </p:cNvSpPr>
          <p:nvPr>
            <p:ph type="body" sz="quarter" idx="17" hasCustomPrompt="1"/>
          </p:nvPr>
        </p:nvSpPr>
        <p:spPr>
          <a:xfrm>
            <a:off x="5029200" y="400507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9" name="Heading Left Bottom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400507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7" name="Heading Right Top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0" y="139903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Left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4114800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004853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Right Top"/>
          <p:cNvSpPr>
            <a:spLocks noGrp="1"/>
          </p:cNvSpPr>
          <p:nvPr>
            <p:ph sz="quarter" idx="14"/>
          </p:nvPr>
        </p:nvSpPr>
        <p:spPr>
          <a:xfrm>
            <a:off x="6556248" y="1399032"/>
            <a:ext cx="2587752" cy="49286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Content Middle Top"/>
          <p:cNvSpPr>
            <a:spLocks noGrp="1"/>
          </p:cNvSpPr>
          <p:nvPr>
            <p:ph sz="quarter" idx="12"/>
          </p:nvPr>
        </p:nvSpPr>
        <p:spPr>
          <a:xfrm>
            <a:off x="3506724" y="1399032"/>
            <a:ext cx="2587752" cy="49286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399032"/>
            <a:ext cx="2587752" cy="49286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75015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Right Top"/>
          <p:cNvSpPr>
            <a:spLocks noGrp="1"/>
          </p:cNvSpPr>
          <p:nvPr>
            <p:ph sz="quarter" idx="14"/>
          </p:nvPr>
        </p:nvSpPr>
        <p:spPr>
          <a:xfrm>
            <a:off x="6556248" y="1883664"/>
            <a:ext cx="2587752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9" name="Heading Right Top"/>
          <p:cNvSpPr>
            <a:spLocks noGrp="1"/>
          </p:cNvSpPr>
          <p:nvPr>
            <p:ph type="body" sz="quarter" idx="15" hasCustomPrompt="1"/>
          </p:nvPr>
        </p:nvSpPr>
        <p:spPr>
          <a:xfrm>
            <a:off x="6556248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6" name="Content Middle Top"/>
          <p:cNvSpPr>
            <a:spLocks noGrp="1"/>
          </p:cNvSpPr>
          <p:nvPr>
            <p:ph sz="quarter" idx="12"/>
          </p:nvPr>
        </p:nvSpPr>
        <p:spPr>
          <a:xfrm>
            <a:off x="3506724" y="1883664"/>
            <a:ext cx="2587752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Heading Middle Top"/>
          <p:cNvSpPr>
            <a:spLocks noGrp="1"/>
          </p:cNvSpPr>
          <p:nvPr>
            <p:ph type="body" sz="quarter" idx="13" hasCustomPrompt="1"/>
          </p:nvPr>
        </p:nvSpPr>
        <p:spPr>
          <a:xfrm>
            <a:off x="3506724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2587752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ing Left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460550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6706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30090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1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405" descr="C:\Users\Ben.Helps\Documents\BGH at MOW\BGH projects\current\HPI 143-01 credit passport\D. Intellectual property\1. Logos\Factern\Factern Blue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091"/>
          <a:stretch/>
        </p:blipFill>
        <p:spPr bwMode="auto">
          <a:xfrm>
            <a:off x="709613" y="1310270"/>
            <a:ext cx="2438553" cy="2106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/>
          <p:cNvSpPr txBox="1"/>
          <p:nvPr userDrawn="1"/>
        </p:nvSpPr>
        <p:spPr>
          <a:xfrm>
            <a:off x="1037619" y="3246129"/>
            <a:ext cx="178253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GB" sz="2400" dirty="0">
                <a:solidFill>
                  <a:schemeClr val="bg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F A C T E R N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1037619" y="5184266"/>
            <a:ext cx="2620589" cy="307777"/>
          </a:xfrm>
          <a:prstGeom prst="rect">
            <a:avLst/>
          </a:prstGeom>
        </p:spPr>
        <p:txBody>
          <a:bodyPr wrap="none" l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IVATE AND CONFIDENTIA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037619" y="3819525"/>
            <a:ext cx="6124575" cy="104775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73736" indent="0">
              <a:buNone/>
              <a:defRPr>
                <a:solidFill>
                  <a:schemeClr val="bg1"/>
                </a:solidFill>
              </a:defRPr>
            </a:lvl2pPr>
            <a:lvl3pPr marL="356616" indent="0">
              <a:buNone/>
              <a:defRPr>
                <a:solidFill>
                  <a:schemeClr val="bg1"/>
                </a:solidFill>
              </a:defRPr>
            </a:lvl3pPr>
            <a:lvl4pPr marL="539496" indent="0">
              <a:buNone/>
              <a:defRPr>
                <a:solidFill>
                  <a:schemeClr val="bg1"/>
                </a:solidFill>
              </a:defRPr>
            </a:lvl4pPr>
            <a:lvl5pPr marL="71323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0788281"/>
      </p:ext>
    </p:extLst>
  </p:cSld>
  <p:clrMapOvr>
    <a:masterClrMapping/>
  </p:clrMapOvr>
  <p:hf sldNum="0" hdr="0" ft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Heading Right Top"/>
          <p:cNvSpPr>
            <a:spLocks noGrp="1"/>
          </p:cNvSpPr>
          <p:nvPr>
            <p:ph type="body" sz="quarter" idx="15" hasCustomPrompt="1"/>
          </p:nvPr>
        </p:nvSpPr>
        <p:spPr>
          <a:xfrm>
            <a:off x="6556248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7" name="Heading Middle Top"/>
          <p:cNvSpPr>
            <a:spLocks noGrp="1"/>
          </p:cNvSpPr>
          <p:nvPr>
            <p:ph type="body" sz="quarter" idx="13" hasCustomPrompt="1"/>
          </p:nvPr>
        </p:nvSpPr>
        <p:spPr>
          <a:xfrm>
            <a:off x="3506724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Left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28990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ntent Right Bottom"/>
          <p:cNvSpPr>
            <a:spLocks noGrp="1"/>
          </p:cNvSpPr>
          <p:nvPr>
            <p:ph sz="quarter" idx="26"/>
          </p:nvPr>
        </p:nvSpPr>
        <p:spPr>
          <a:xfrm>
            <a:off x="6556248" y="4005072"/>
            <a:ext cx="2587752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3" name="Content Middle Bottom"/>
          <p:cNvSpPr>
            <a:spLocks noGrp="1"/>
          </p:cNvSpPr>
          <p:nvPr>
            <p:ph sz="quarter" idx="25"/>
          </p:nvPr>
        </p:nvSpPr>
        <p:spPr>
          <a:xfrm>
            <a:off x="3506724" y="4005072"/>
            <a:ext cx="2587752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1" name="Content Left Bottom"/>
          <p:cNvSpPr>
            <a:spLocks noGrp="1"/>
          </p:cNvSpPr>
          <p:nvPr>
            <p:ph sz="quarter" idx="24"/>
          </p:nvPr>
        </p:nvSpPr>
        <p:spPr>
          <a:xfrm>
            <a:off x="457200" y="4005072"/>
            <a:ext cx="2587752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0" name="Content Right Top"/>
          <p:cNvSpPr>
            <a:spLocks noGrp="1"/>
          </p:cNvSpPr>
          <p:nvPr>
            <p:ph sz="quarter" idx="23"/>
          </p:nvPr>
        </p:nvSpPr>
        <p:spPr>
          <a:xfrm>
            <a:off x="6556248" y="1399032"/>
            <a:ext cx="2587752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19" name="Content Middle Top"/>
          <p:cNvSpPr>
            <a:spLocks noGrp="1"/>
          </p:cNvSpPr>
          <p:nvPr>
            <p:ph sz="quarter" idx="22"/>
          </p:nvPr>
        </p:nvSpPr>
        <p:spPr>
          <a:xfrm>
            <a:off x="3506724" y="1399032"/>
            <a:ext cx="2587752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399032"/>
            <a:ext cx="2587752" cy="2322576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680453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ntent Right Bottom"/>
          <p:cNvSpPr>
            <a:spLocks noGrp="1"/>
          </p:cNvSpPr>
          <p:nvPr>
            <p:ph sz="quarter" idx="26"/>
          </p:nvPr>
        </p:nvSpPr>
        <p:spPr>
          <a:xfrm>
            <a:off x="6556248" y="4489704"/>
            <a:ext cx="2587752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35" name="Heading Right Bottom"/>
          <p:cNvSpPr>
            <a:spLocks noGrp="1"/>
          </p:cNvSpPr>
          <p:nvPr>
            <p:ph type="body" sz="quarter" idx="21" hasCustomPrompt="1"/>
          </p:nvPr>
        </p:nvSpPr>
        <p:spPr>
          <a:xfrm>
            <a:off x="6556248" y="400507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3" name="Content Middle Bottom"/>
          <p:cNvSpPr>
            <a:spLocks noGrp="1"/>
          </p:cNvSpPr>
          <p:nvPr>
            <p:ph sz="quarter" idx="25"/>
          </p:nvPr>
        </p:nvSpPr>
        <p:spPr>
          <a:xfrm>
            <a:off x="3506724" y="4489704"/>
            <a:ext cx="2587752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33" name="Heading Middle Bottom"/>
          <p:cNvSpPr>
            <a:spLocks noGrp="1"/>
          </p:cNvSpPr>
          <p:nvPr>
            <p:ph type="body" sz="quarter" idx="19" hasCustomPrompt="1"/>
          </p:nvPr>
        </p:nvSpPr>
        <p:spPr>
          <a:xfrm>
            <a:off x="3506724" y="400507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1" name="Content Left Bottom"/>
          <p:cNvSpPr>
            <a:spLocks noGrp="1"/>
          </p:cNvSpPr>
          <p:nvPr>
            <p:ph sz="quarter" idx="24"/>
          </p:nvPr>
        </p:nvSpPr>
        <p:spPr>
          <a:xfrm>
            <a:off x="457200" y="4489704"/>
            <a:ext cx="2587752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31" name="Heading Left Bottom"/>
          <p:cNvSpPr>
            <a:spLocks noGrp="1"/>
          </p:cNvSpPr>
          <p:nvPr>
            <p:ph type="body" sz="quarter" idx="17" hasCustomPrompt="1"/>
          </p:nvPr>
        </p:nvSpPr>
        <p:spPr>
          <a:xfrm>
            <a:off x="457200" y="400507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0" name="Content Right Top"/>
          <p:cNvSpPr>
            <a:spLocks noGrp="1"/>
          </p:cNvSpPr>
          <p:nvPr>
            <p:ph sz="quarter" idx="23"/>
          </p:nvPr>
        </p:nvSpPr>
        <p:spPr>
          <a:xfrm>
            <a:off x="6556248" y="1883664"/>
            <a:ext cx="2587752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9" name="Heading Right Top"/>
          <p:cNvSpPr>
            <a:spLocks noGrp="1"/>
          </p:cNvSpPr>
          <p:nvPr>
            <p:ph type="body" sz="quarter" idx="15" hasCustomPrompt="1"/>
          </p:nvPr>
        </p:nvSpPr>
        <p:spPr>
          <a:xfrm>
            <a:off x="6556248" y="139903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9" name="Content Middle Top"/>
          <p:cNvSpPr>
            <a:spLocks noGrp="1"/>
          </p:cNvSpPr>
          <p:nvPr>
            <p:ph sz="quarter" idx="22"/>
          </p:nvPr>
        </p:nvSpPr>
        <p:spPr>
          <a:xfrm>
            <a:off x="3506724" y="1883664"/>
            <a:ext cx="2587752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7" name="Heading Middle Top"/>
          <p:cNvSpPr>
            <a:spLocks noGrp="1"/>
          </p:cNvSpPr>
          <p:nvPr>
            <p:ph type="body" sz="quarter" idx="13" hasCustomPrompt="1"/>
          </p:nvPr>
        </p:nvSpPr>
        <p:spPr>
          <a:xfrm>
            <a:off x="3506724" y="139903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2587752" cy="1837944"/>
          </a:xfrm>
        </p:spPr>
        <p:txBody>
          <a:bodyPr vert="horz" lIns="0" tIns="0" rIns="0" bIns="0" rtlCol="0">
            <a:noAutofit/>
          </a:bodyPr>
          <a:lstStyle>
            <a:lvl1pPr marL="0" indent="-109728">
              <a:spcBef>
                <a:spcPts val="600"/>
              </a:spcBef>
              <a:defRPr lang="en-US" sz="1000" dirty="0" smtClean="0"/>
            </a:lvl1pPr>
            <a:lvl2pPr marL="219456" indent="-109728">
              <a:spcBef>
                <a:spcPts val="200"/>
              </a:spcBef>
              <a:defRPr lang="en-US" sz="1000" dirty="0" smtClean="0"/>
            </a:lvl2pPr>
            <a:lvl3pPr marL="320040" indent="-109728">
              <a:spcBef>
                <a:spcPts val="200"/>
              </a:spcBef>
              <a:defRPr lang="en-US" sz="1000" dirty="0" smtClean="0"/>
            </a:lvl3pPr>
            <a:lvl4pPr marL="429768" indent="-109728">
              <a:spcBef>
                <a:spcPts val="200"/>
              </a:spcBef>
              <a:defRPr lang="en-US" sz="1000" dirty="0" smtClean="0"/>
            </a:lvl4pPr>
            <a:lvl5pPr marL="539496" indent="-109728">
              <a:spcBef>
                <a:spcPts val="200"/>
              </a:spcBef>
              <a:defRPr lang="en-US" sz="1000" dirty="0" smtClean="0"/>
            </a:lvl5pPr>
            <a:lvl6pPr marL="649224" indent="-109728">
              <a:spcBef>
                <a:spcPts val="200"/>
              </a:spcBef>
              <a:defRPr lang="en-US" sz="1000" dirty="0" smtClean="0"/>
            </a:lvl6pPr>
            <a:lvl7pPr marL="758952" indent="-109728">
              <a:spcBef>
                <a:spcPts val="200"/>
              </a:spcBef>
              <a:defRPr lang="en-US" sz="1000" dirty="0" smtClean="0"/>
            </a:lvl7pPr>
            <a:lvl8pPr marL="868680" indent="-109728">
              <a:spcBef>
                <a:spcPts val="200"/>
              </a:spcBef>
              <a:defRPr lang="en-US" sz="1000" dirty="0" smtClean="0"/>
            </a:lvl8pPr>
            <a:lvl9pPr marL="969264" indent="-109728">
              <a:spcBef>
                <a:spcPts val="200"/>
              </a:spcBef>
              <a:defRPr lang="en-US"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 dirty="0"/>
          </a:p>
        </p:txBody>
      </p:sp>
      <p:sp>
        <p:nvSpPr>
          <p:cNvPr id="22" name="Heading Left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865410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Heading Right Bottom"/>
          <p:cNvSpPr>
            <a:spLocks noGrp="1"/>
          </p:cNvSpPr>
          <p:nvPr>
            <p:ph type="body" sz="quarter" idx="21" hasCustomPrompt="1"/>
          </p:nvPr>
        </p:nvSpPr>
        <p:spPr>
          <a:xfrm>
            <a:off x="6556248" y="400507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3" name="Heading Middle Bottom"/>
          <p:cNvSpPr>
            <a:spLocks noGrp="1"/>
          </p:cNvSpPr>
          <p:nvPr>
            <p:ph type="body" sz="quarter" idx="19" hasCustomPrompt="1"/>
          </p:nvPr>
        </p:nvSpPr>
        <p:spPr>
          <a:xfrm>
            <a:off x="3506724" y="400507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1" name="Heading Left Bottom"/>
          <p:cNvSpPr>
            <a:spLocks noGrp="1"/>
          </p:cNvSpPr>
          <p:nvPr>
            <p:ph type="body" sz="quarter" idx="17" hasCustomPrompt="1"/>
          </p:nvPr>
        </p:nvSpPr>
        <p:spPr>
          <a:xfrm>
            <a:off x="457200" y="400507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9" name="Heading Right Top"/>
          <p:cNvSpPr>
            <a:spLocks noGrp="1"/>
          </p:cNvSpPr>
          <p:nvPr>
            <p:ph type="body" sz="quarter" idx="15" hasCustomPrompt="1"/>
          </p:nvPr>
        </p:nvSpPr>
        <p:spPr>
          <a:xfrm>
            <a:off x="6556248" y="139903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7" name="Heading Middle Top"/>
          <p:cNvSpPr>
            <a:spLocks noGrp="1"/>
          </p:cNvSpPr>
          <p:nvPr>
            <p:ph type="body" sz="quarter" idx="13" hasCustomPrompt="1"/>
          </p:nvPr>
        </p:nvSpPr>
        <p:spPr>
          <a:xfrm>
            <a:off x="3506724" y="139903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Left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2587752" cy="3017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0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000" baseline="0"/>
            </a:lvl3pPr>
            <a:lvl4pPr marL="0" indent="0">
              <a:spcBef>
                <a:spcPts val="0"/>
              </a:spcBef>
              <a:buNone/>
              <a:defRPr sz="10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28230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Right"/>
          <p:cNvSpPr>
            <a:spLocks noGrp="1"/>
          </p:cNvSpPr>
          <p:nvPr>
            <p:ph sz="quarter" idx="12"/>
          </p:nvPr>
        </p:nvSpPr>
        <p:spPr>
          <a:xfrm>
            <a:off x="3502152" y="1883664"/>
            <a:ext cx="5641848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3502152" y="1399032"/>
            <a:ext cx="5641848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Content Left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2587752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ing Left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384048"/>
            <a:ext cx="8686800" cy="75895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02077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Right"/>
          <p:cNvSpPr>
            <a:spLocks noGrp="1"/>
          </p:cNvSpPr>
          <p:nvPr>
            <p:ph sz="quarter" idx="12"/>
          </p:nvPr>
        </p:nvSpPr>
        <p:spPr>
          <a:xfrm>
            <a:off x="6556248" y="1883664"/>
            <a:ext cx="2587752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6556248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Content Left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5641848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ing Left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5641848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384048"/>
            <a:ext cx="8686800" cy="75895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6708958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– Small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"/>
          <p:cNvSpPr>
            <a:spLocks noGrp="1"/>
          </p:cNvSpPr>
          <p:nvPr>
            <p:ph sz="quarter" idx="11"/>
          </p:nvPr>
        </p:nvSpPr>
        <p:spPr>
          <a:xfrm>
            <a:off x="457200" y="1399032"/>
            <a:ext cx="8686800" cy="49286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 smtClean="0"/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400" dirty="0" smtClean="0"/>
            </a:lvl4pPr>
            <a:lvl5pPr>
              <a:defRPr lang="en-US" sz="1400" dirty="0" smtClean="0"/>
            </a:lvl5pPr>
            <a:lvl6pPr>
              <a:defRPr lang="en-US" sz="1400" dirty="0" smtClean="0"/>
            </a:lvl6pPr>
            <a:lvl7pPr>
              <a:defRPr lang="en-US" sz="1400" dirty="0" smtClean="0"/>
            </a:lvl7pPr>
            <a:lvl8pPr>
              <a:defRPr lang="en-US" sz="1400" dirty="0" smtClean="0"/>
            </a:lvl8pPr>
            <a:lvl9pPr>
              <a:defRPr lang="en-US" sz="14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Picture"/>
          <p:cNvSpPr>
            <a:spLocks noGrp="1"/>
          </p:cNvSpPr>
          <p:nvPr>
            <p:ph type="pic" sz="quarter" idx="12"/>
          </p:nvPr>
        </p:nvSpPr>
        <p:spPr bwMode="gray">
          <a:xfrm>
            <a:off x="8382000" y="384048"/>
            <a:ext cx="762000" cy="762000"/>
          </a:xfrm>
          <a:noFill/>
          <a:ln>
            <a:noFill/>
          </a:ln>
        </p:spPr>
        <p:txBody>
          <a:bodyPr lIns="0" tIns="0" rIns="0" bIns="0" anchor="ctr" anchorCtr="0"/>
          <a:lstStyle>
            <a:lvl1pPr mar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000" b="1">
                <a:solidFill>
                  <a:schemeClr val="accent4"/>
                </a:solidFill>
              </a:defRPr>
            </a:lvl1pPr>
          </a:lstStyle>
          <a:p>
            <a:r>
              <a:rPr lang="en-US" altLang="ja-JP"/>
              <a:t>Click icon to add picture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384048"/>
            <a:ext cx="7818120" cy="75895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39002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57200" y="384048"/>
            <a:ext cx="8686800" cy="75895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onte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281765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cover">
    <p:bg>
      <p:bgPr>
        <a:solidFill>
          <a:srgbClr val="06706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4255217" y="5101220"/>
            <a:ext cx="1090766" cy="1041499"/>
            <a:chOff x="4276725" y="5101220"/>
            <a:chExt cx="1090766" cy="1041499"/>
          </a:xfrm>
        </p:grpSpPr>
        <p:pic>
          <p:nvPicPr>
            <p:cNvPr id="3" name="Picture 405" descr="C:\Users\Ben.Helps\Documents\BGH at MOW\BGH projects\current\HPI 143-01 credit passport\D. Intellectual property\1. Logos\Factern\Factern Blue.png"/>
            <p:cNvPicPr>
              <a:picLocks noChangeAspect="1" noChangeArrowheads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7091"/>
            <a:stretch/>
          </p:blipFill>
          <p:spPr bwMode="auto">
            <a:xfrm>
              <a:off x="4276725" y="5101220"/>
              <a:ext cx="1090766" cy="9421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TextBox 4"/>
            <p:cNvSpPr txBox="1"/>
            <p:nvPr userDrawn="1"/>
          </p:nvSpPr>
          <p:spPr>
            <a:xfrm>
              <a:off x="4414945" y="5973442"/>
              <a:ext cx="814325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en-GB" sz="1100" dirty="0">
                  <a:solidFill>
                    <a:schemeClr val="bg1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F A C T E R 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928444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rma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/>
          <p:nvPr userDrawn="1"/>
        </p:nvCxnSpPr>
        <p:spPr>
          <a:xfrm>
            <a:off x="450058" y="785813"/>
            <a:ext cx="8694420" cy="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9"/>
          <p:cNvCxnSpPr/>
          <p:nvPr userDrawn="1"/>
        </p:nvCxnSpPr>
        <p:spPr>
          <a:xfrm>
            <a:off x="1200153" y="6500817"/>
            <a:ext cx="7944326" cy="1587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15192" y="908650"/>
            <a:ext cx="8729285" cy="5184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582"/>
              </a:spcBef>
              <a:spcAft>
                <a:spcPts val="582"/>
              </a:spcAft>
              <a:buNone/>
              <a:defRPr sz="1066"/>
            </a:lvl1pPr>
            <a:lvl2pPr marL="175401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Symbol" pitchFamily="18" charset="2"/>
              <a:buChar char=""/>
              <a:defRPr sz="1066"/>
            </a:lvl2pPr>
            <a:lvl3pPr marL="526203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1066" baseline="0"/>
            </a:lvl3pPr>
            <a:lvl4pPr marL="692372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Some text in here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  <a:p>
            <a:pPr lvl="3"/>
            <a:r>
              <a:rPr lang="en-US" dirty="0"/>
              <a:t>Third level bullet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6985873" y="6492879"/>
            <a:ext cx="2240280" cy="365125"/>
          </a:xfrm>
          <a:prstGeom prst="rect">
            <a:avLst/>
          </a:prstGeom>
        </p:spPr>
        <p:txBody>
          <a:bodyPr anchor="ctr"/>
          <a:lstStyle>
            <a:lvl1pPr algn="r">
              <a:lnSpc>
                <a:spcPct val="100000"/>
              </a:lnSpc>
              <a:defRPr sz="775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B8F36C0F-44A5-44A9-9567-E0DFC591CE9B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13015" y="278580"/>
            <a:ext cx="6880860" cy="36006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45" baseline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defRPr>
            </a:lvl1pPr>
            <a:lvl2pPr marL="350802" indent="-175401">
              <a:buNone/>
              <a:defRPr sz="1066"/>
            </a:lvl2pPr>
            <a:lvl3pPr marL="526203" indent="-175401">
              <a:defRPr sz="1066"/>
            </a:lvl3pPr>
            <a:lvl4pPr marL="692372" indent="-166169"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13015" y="98556"/>
            <a:ext cx="6880860" cy="36006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57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  <a:lvl2pPr marL="350802" indent="-175401">
              <a:buNone/>
              <a:defRPr sz="1066"/>
            </a:lvl2pPr>
            <a:lvl3pPr marL="526203" indent="-175401">
              <a:defRPr sz="1066"/>
            </a:lvl3pPr>
            <a:lvl4pPr marL="692372" indent="-166169"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1227681" y="6338812"/>
            <a:ext cx="6880860" cy="119263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775" baseline="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  <a:lvl2pPr marL="350802" indent="-175401">
              <a:buNone/>
              <a:defRPr sz="1066"/>
            </a:lvl2pPr>
            <a:lvl3pPr marL="526203" indent="-175401">
              <a:defRPr sz="1066"/>
            </a:lvl3pPr>
            <a:lvl4pPr marL="692372" indent="-166169"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Footnotes (Calibri, 8, Black)</a:t>
            </a:r>
          </a:p>
        </p:txBody>
      </p:sp>
      <p:pic>
        <p:nvPicPr>
          <p:cNvPr id="12" name="Picture 405" descr="C:\Users\Ben.Helps\Documents\BGH at MOW\BGH projects\current\HPI 143-01 credit passport\D. Intellectual property\1. Logos\Factern\Factern Blu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645" y="6129361"/>
            <a:ext cx="475383" cy="507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43006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341276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li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/>
          <p:nvPr userDrawn="1"/>
        </p:nvCxnSpPr>
        <p:spPr>
          <a:xfrm>
            <a:off x="450058" y="785813"/>
            <a:ext cx="8694420" cy="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9"/>
          <p:cNvCxnSpPr/>
          <p:nvPr userDrawn="1"/>
        </p:nvCxnSpPr>
        <p:spPr>
          <a:xfrm>
            <a:off x="1200153" y="6500817"/>
            <a:ext cx="7944326" cy="1587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15193" y="908650"/>
            <a:ext cx="4290896" cy="5184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582"/>
              </a:spcBef>
              <a:spcAft>
                <a:spcPts val="582"/>
              </a:spcAft>
              <a:buNone/>
              <a:defRPr sz="1066"/>
            </a:lvl1pPr>
            <a:lvl2pPr marL="175401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Symbol" pitchFamily="18" charset="2"/>
              <a:buChar char=""/>
              <a:defRPr sz="1066"/>
            </a:lvl2pPr>
            <a:lvl3pPr marL="526203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1066"/>
            </a:lvl3pPr>
            <a:lvl4pPr marL="692372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4853582" y="908668"/>
            <a:ext cx="4290896" cy="5184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spcAft>
                <a:spcPts val="1163"/>
              </a:spcAft>
              <a:buNone/>
              <a:defRPr lang="en-US" sz="1066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175401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Symbol" pitchFamily="18" charset="2"/>
              <a:buChar char=""/>
              <a:defRPr sz="1066"/>
            </a:lvl2pPr>
            <a:lvl3pPr marL="526203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Calibri" pitchFamily="34" charset="0"/>
              <a:buChar char="–"/>
              <a:defRPr sz="1066"/>
            </a:lvl3pPr>
            <a:lvl4pPr marL="692372" indent="-17540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sz="1066"/>
            </a:lvl4pPr>
            <a:lvl5pPr>
              <a:defRPr sz="1066"/>
            </a:lvl5pPr>
          </a:lstStyle>
          <a:p>
            <a:pPr marL="0" lvl="0" indent="0" algn="l" rtl="0" eaLnBrk="0" fontAlgn="base" hangingPunct="0">
              <a:lnSpc>
                <a:spcPct val="130000"/>
              </a:lnSpc>
              <a:spcBef>
                <a:spcPts val="582"/>
              </a:spcBef>
              <a:spcAft>
                <a:spcPts val="582"/>
              </a:spcAft>
              <a:buFont typeface="Symbol" pitchFamily="18" charset="2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800600" y="908664"/>
            <a:ext cx="0" cy="5220696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6985873" y="6492879"/>
            <a:ext cx="2240280" cy="365125"/>
          </a:xfrm>
          <a:prstGeom prst="rect">
            <a:avLst/>
          </a:prstGeom>
        </p:spPr>
        <p:txBody>
          <a:bodyPr anchor="ctr"/>
          <a:lstStyle>
            <a:lvl1pPr algn="r">
              <a:lnSpc>
                <a:spcPct val="100000"/>
              </a:lnSpc>
              <a:defRPr sz="775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B8F36C0F-44A5-44A9-9567-E0DFC591CE9B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413015" y="278580"/>
            <a:ext cx="6880860" cy="36006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745" baseline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defRPr>
            </a:lvl1pPr>
            <a:lvl2pPr marL="350802" indent="-175401">
              <a:buNone/>
              <a:defRPr sz="1066"/>
            </a:lvl2pPr>
            <a:lvl3pPr marL="526203" indent="-175401">
              <a:defRPr sz="1066"/>
            </a:lvl3pPr>
            <a:lvl4pPr marL="692372" indent="-166169"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13015" y="98556"/>
            <a:ext cx="6880860" cy="36006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57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  <a:lvl2pPr marL="350802" indent="-175401">
              <a:buNone/>
              <a:defRPr sz="1066"/>
            </a:lvl2pPr>
            <a:lvl3pPr marL="526203" indent="-175401">
              <a:defRPr sz="1066"/>
            </a:lvl3pPr>
            <a:lvl4pPr marL="692372" indent="-166169"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1227681" y="6337329"/>
            <a:ext cx="6880860" cy="119263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775" baseline="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  <a:lvl2pPr marL="350802" indent="-175401">
              <a:buNone/>
              <a:defRPr sz="1066"/>
            </a:lvl2pPr>
            <a:lvl3pPr marL="526203" indent="-175401">
              <a:defRPr sz="1066"/>
            </a:lvl3pPr>
            <a:lvl4pPr marL="692372" indent="-166169">
              <a:defRPr sz="1066"/>
            </a:lvl4pPr>
            <a:lvl5pPr>
              <a:defRPr sz="1066"/>
            </a:lvl5pPr>
          </a:lstStyle>
          <a:p>
            <a:pPr lvl="0"/>
            <a:r>
              <a:rPr lang="en-US" dirty="0"/>
              <a:t>Footnotes (Calibri, 8, Black)</a:t>
            </a:r>
          </a:p>
        </p:txBody>
      </p:sp>
      <p:pic>
        <p:nvPicPr>
          <p:cNvPr id="12" name="Picture 405" descr="C:\Users\Ben.Helps\Documents\BGH at MOW\BGH projects\current\HPI 143-01 credit passport\D. Intellectual property\1. Logos\Factern\Factern Blu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645" y="6129361"/>
            <a:ext cx="475383" cy="507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12092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"/>
          <p:cNvSpPr>
            <a:spLocks noGrp="1"/>
          </p:cNvSpPr>
          <p:nvPr>
            <p:ph sz="quarter" idx="11"/>
          </p:nvPr>
        </p:nvSpPr>
        <p:spPr>
          <a:xfrm>
            <a:off x="457200" y="1399032"/>
            <a:ext cx="8686800" cy="49286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 smtClean="0"/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400" dirty="0" smtClean="0"/>
            </a:lvl4pPr>
            <a:lvl5pPr>
              <a:defRPr lang="en-US" sz="1400" dirty="0" smtClean="0"/>
            </a:lvl5pPr>
            <a:lvl6pPr>
              <a:defRPr lang="en-US" sz="1400" dirty="0" smtClean="0"/>
            </a:lvl6pPr>
            <a:lvl7pPr>
              <a:defRPr lang="en-US" sz="1400" dirty="0" smtClean="0"/>
            </a:lvl7pPr>
            <a:lvl8pPr>
              <a:defRPr lang="en-US" sz="1400" dirty="0" smtClean="0"/>
            </a:lvl8pPr>
            <a:lvl9pPr>
              <a:defRPr lang="en-US" sz="14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9508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ing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8686800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2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1923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8686800" cy="444398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 smtClean="0"/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400" dirty="0" smtClean="0"/>
            </a:lvl4pPr>
            <a:lvl5pPr>
              <a:defRPr lang="en-US" sz="1400" dirty="0" smtClean="0"/>
            </a:lvl5pPr>
            <a:lvl6pPr>
              <a:defRPr lang="en-US" sz="1400" dirty="0" smtClean="0"/>
            </a:lvl6pPr>
            <a:lvl7pPr>
              <a:defRPr lang="en-US" sz="1400" dirty="0" smtClean="0"/>
            </a:lvl7pPr>
            <a:lvl8pPr>
              <a:defRPr lang="en-US" sz="1400" dirty="0" smtClean="0"/>
            </a:lvl8pPr>
            <a:lvl9pPr>
              <a:defRPr lang="en-US" sz="14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ing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8686800" cy="42976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4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4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400" baseline="0"/>
            </a:lvl3pPr>
            <a:lvl4pPr marL="0" indent="0">
              <a:spcBef>
                <a:spcPts val="0"/>
              </a:spcBef>
              <a:buNone/>
              <a:defRPr sz="1400" baseline="0"/>
            </a:lvl4pPr>
            <a:lvl5pPr marL="0" indent="0">
              <a:spcBef>
                <a:spcPts val="0"/>
              </a:spcBef>
              <a:buNone/>
              <a:defRPr sz="1400" baseline="0"/>
            </a:lvl5pPr>
          </a:lstStyle>
          <a:p>
            <a:pPr lvl="0"/>
            <a:r>
              <a:rPr lang="en-US" dirty="0"/>
              <a:t>Heading 1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43704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Bottom"/>
          <p:cNvSpPr>
            <a:spLocks noGrp="1"/>
          </p:cNvSpPr>
          <p:nvPr>
            <p:ph sz="quarter" idx="12"/>
          </p:nvPr>
        </p:nvSpPr>
        <p:spPr>
          <a:xfrm>
            <a:off x="457200" y="4489704"/>
            <a:ext cx="8686800" cy="183794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Heading Bottom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4005072"/>
            <a:ext cx="8686800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Content Top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8686800" cy="1837944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Heading Top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9032"/>
            <a:ext cx="8686800" cy="3657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200" baseline="0"/>
            </a:lvl3pPr>
            <a:lvl4pPr marL="0" indent="0">
              <a:spcBef>
                <a:spcPts val="0"/>
              </a:spcBef>
              <a:buNone/>
              <a:defRPr sz="1200" baseline="0"/>
            </a:lvl4pPr>
            <a:lvl5pPr marL="0" indent="0">
              <a:spcBef>
                <a:spcPts val="0"/>
              </a:spcBef>
              <a:buNone/>
              <a:defRPr sz="1000" baseline="0"/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55725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ctionTitle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034146" y="2934392"/>
            <a:ext cx="6106679" cy="1007181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vert="horz" wrap="square" lIns="144000" tIns="72000" rIns="0" bIns="72000" numCol="1" anchor="t" anchorCtr="0" compatLnSpc="1">
            <a:prstTxWarp prst="textNoShape">
              <a:avLst/>
            </a:prstTxWarp>
            <a:spAutoFit/>
          </a:bodyPr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2800" kern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sym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2800" kern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+mn-ea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add section title</a:t>
            </a:r>
            <a:endParaRPr lang="pl-PL" dirty="0"/>
          </a:p>
          <a:p>
            <a:pPr lvl="1"/>
            <a:r>
              <a:rPr lang="en-US" noProof="0" dirty="0"/>
              <a:t>Click to add section subtitle</a:t>
            </a:r>
            <a:endParaRPr lang="pl-PL" noProof="0" dirty="0"/>
          </a:p>
        </p:txBody>
      </p:sp>
      <p:sp>
        <p:nvSpPr>
          <p:cNvPr id="7" name="SectionNumber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57200" y="2934393"/>
            <a:ext cx="2422179" cy="1007181"/>
          </a:xfrm>
        </p:spPr>
        <p:txBody>
          <a:bodyPr lIns="0" tIns="72000" rIns="0" bIns="72000"/>
          <a:lstStyle>
            <a:lvl1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n-lt"/>
                <a:sym typeface="+mn-lt"/>
              </a:defRPr>
            </a:lvl1pPr>
          </a:lstStyle>
          <a:p>
            <a:pPr lvl="0"/>
            <a:r>
              <a:rPr lang="en-US" dirty="0"/>
              <a:t>Section #</a:t>
            </a:r>
          </a:p>
        </p:txBody>
      </p:sp>
    </p:spTree>
    <p:extLst>
      <p:ext uri="{BB962C8B-B14F-4D97-AF65-F5344CB8AC3E}">
        <p14:creationId xmlns:p14="http://schemas.microsoft.com/office/powerpoint/2010/main" val="37711110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Right"/>
          <p:cNvSpPr>
            <a:spLocks noGrp="1"/>
          </p:cNvSpPr>
          <p:nvPr>
            <p:ph sz="quarter" idx="12"/>
          </p:nvPr>
        </p:nvSpPr>
        <p:spPr>
          <a:xfrm>
            <a:off x="5029200" y="1399032"/>
            <a:ext cx="4114800" cy="49286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Content Left"/>
          <p:cNvSpPr>
            <a:spLocks noGrp="1"/>
          </p:cNvSpPr>
          <p:nvPr>
            <p:ph sz="quarter" idx="11"/>
          </p:nvPr>
        </p:nvSpPr>
        <p:spPr>
          <a:xfrm>
            <a:off x="457200" y="1399032"/>
            <a:ext cx="4114800" cy="49286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 smtClean="0"/>
            </a:lvl1pPr>
            <a:lvl2pPr>
              <a:defRPr lang="en-US" sz="12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 smtClean="0"/>
            </a:lvl5pPr>
            <a:lvl6pPr>
              <a:defRPr lang="en-US" sz="1200" dirty="0" smtClean="0"/>
            </a:lvl6pPr>
            <a:lvl7pPr>
              <a:defRPr lang="en-US" sz="1200" dirty="0" smtClean="0"/>
            </a:lvl7pPr>
            <a:lvl8pPr>
              <a:defRPr lang="en-US" sz="1200" dirty="0" smtClean="0"/>
            </a:lvl8pPr>
            <a:lvl9pPr>
              <a:defRPr lang="en-US"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091163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7765908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14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Number"/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8986906" y="6547104"/>
            <a:ext cx="157094" cy="153888"/>
          </a:xfrm>
          <a:prstGeom prst="rect">
            <a:avLst/>
          </a:prstGeom>
          <a:noFill/>
          <a:ln w="6350" cmpd="sng">
            <a:noFill/>
            <a:prstDash val="solid"/>
          </a:ln>
        </p:spPr>
        <p:txBody>
          <a:bodyPr wrap="none" lIns="0" tIns="0" rIns="0" bIns="0" rtlCol="0" anchor="b">
            <a:spAutoFit/>
          </a:bodyPr>
          <a:lstStyle/>
          <a:p>
            <a:pPr marL="0" indent="0" algn="r" defTabSz="914400" rtl="0" eaLnBrk="1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4CF6A944-D9EA-4008-9CF7-44283426B6A9}" type="slidenum">
              <a:rPr lang="en-GB" sz="1000" b="0" i="0" u="none" baseline="0" smtClean="0">
                <a:solidFill>
                  <a:schemeClr val="accent3"/>
                </a:solidFill>
                <a:latin typeface="+mn-lt"/>
                <a:ea typeface="+mn-ea"/>
              </a:rPr>
              <a:pPr marL="0" indent="0" algn="r" defTabSz="914400" rtl="0" eaLnBrk="1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‹#›</a:t>
            </a:fld>
            <a:endParaRPr lang="en-GB" sz="1000" b="0" i="0" u="none" baseline="0" dirty="0">
              <a:solidFill>
                <a:schemeClr val="accent3"/>
              </a:solidFill>
              <a:latin typeface="+mn-lt"/>
              <a:ea typeface="+mn-ea"/>
            </a:endParaRPr>
          </a:p>
        </p:txBody>
      </p:sp>
      <p:sp>
        <p:nvSpPr>
          <p:cNvPr id="3" name="BodyText"/>
          <p:cNvSpPr>
            <a:spLocks noGrp="1"/>
          </p:cNvSpPr>
          <p:nvPr>
            <p:ph type="body" idx="1"/>
          </p:nvPr>
        </p:nvSpPr>
        <p:spPr>
          <a:xfrm>
            <a:off x="457200" y="1399032"/>
            <a:ext cx="8686800" cy="49286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384048"/>
            <a:ext cx="8686800" cy="7589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5" name="DTP_Label|1"/>
          <p:cNvSpPr/>
          <p:nvPr/>
        </p:nvSpPr>
        <p:spPr>
          <a:xfrm>
            <a:off x="499732" y="84766"/>
            <a:ext cx="1622945" cy="24853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43" tIns="46863" rIns="90043" bIns="46863" rtlCol="0" anchor="b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GB" sz="1000" b="1" dirty="0">
                <a:solidFill>
                  <a:schemeClr val="accent4"/>
                </a:solidFill>
                <a:latin typeface="+mj-lt"/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24294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84" r:id="rId2"/>
    <p:sldLayoutId id="2147483651" r:id="rId3"/>
    <p:sldLayoutId id="2147483668" r:id="rId4"/>
    <p:sldLayoutId id="2147483667" r:id="rId5"/>
    <p:sldLayoutId id="2147483666" r:id="rId6"/>
    <p:sldLayoutId id="2147483665" r:id="rId7"/>
    <p:sldLayoutId id="2147483673" r:id="rId8"/>
    <p:sldLayoutId id="2147483663" r:id="rId9"/>
    <p:sldLayoutId id="2147483662" r:id="rId10"/>
    <p:sldLayoutId id="2147483664" r:id="rId11"/>
    <p:sldLayoutId id="2147483683" r:id="rId12"/>
    <p:sldLayoutId id="2147483685" r:id="rId13"/>
    <p:sldLayoutId id="2147483688" r:id="rId14"/>
    <p:sldLayoutId id="2147483687" r:id="rId15"/>
    <p:sldLayoutId id="2147483659" r:id="rId16"/>
    <p:sldLayoutId id="2147483658" r:id="rId17"/>
    <p:sldLayoutId id="2147483661" r:id="rId18"/>
    <p:sldLayoutId id="2147483656" r:id="rId19"/>
    <p:sldLayoutId id="2147483660" r:id="rId20"/>
    <p:sldLayoutId id="2147483682" r:id="rId21"/>
    <p:sldLayoutId id="2147483653" r:id="rId22"/>
    <p:sldLayoutId id="2147483654" r:id="rId23"/>
    <p:sldLayoutId id="2147483669" r:id="rId24"/>
    <p:sldLayoutId id="2147483670" r:id="rId25"/>
    <p:sldLayoutId id="2147483675" r:id="rId26"/>
    <p:sldLayoutId id="2147483672" r:id="rId27"/>
    <p:sldLayoutId id="2147483681" r:id="rId28"/>
    <p:sldLayoutId id="2147483690" r:id="rId29"/>
    <p:sldLayoutId id="2147483691" r:id="rId30"/>
  </p:sldLayoutIdLst>
  <p:hf sldNum="0" hdr="0" ftr="0" dt="0"/>
  <p:txStyles>
    <p:titleStyle>
      <a:lvl1pPr algn="l" defTabSz="914400" rtl="0" eaLnBrk="1" latinLnBrk="0" hangingPunct="1">
        <a:lnSpc>
          <a:spcPct val="88000"/>
        </a:lnSpc>
        <a:spcBef>
          <a:spcPct val="0"/>
        </a:spcBef>
        <a:buNone/>
        <a:defRPr sz="2000" kern="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spcBef>
          <a:spcPts val="700"/>
        </a:spcBef>
        <a:buFont typeface="Arial" panose="020B0604020202020204" pitchFamily="34" charset="0"/>
        <a:buChar char="•"/>
        <a:defRPr sz="1400" kern="0" baseline="0">
          <a:solidFill>
            <a:schemeClr val="tx1"/>
          </a:solidFill>
          <a:latin typeface="+mn-lt"/>
          <a:ea typeface="+mn-ea"/>
          <a:cs typeface="+mn-cs"/>
        </a:defRPr>
      </a:lvl1pPr>
      <a:lvl2pPr marL="356616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–"/>
        <a:defRPr sz="1400" kern="0" baseline="0">
          <a:solidFill>
            <a:schemeClr val="tx1"/>
          </a:solidFill>
          <a:latin typeface="+mn-lt"/>
          <a:ea typeface="+mn-ea"/>
          <a:cs typeface="+mn-cs"/>
        </a:defRPr>
      </a:lvl2pPr>
      <a:lvl3pPr marL="539496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2376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 baseline="0">
          <a:solidFill>
            <a:schemeClr val="tx1"/>
          </a:solidFill>
          <a:latin typeface="+mn-lt"/>
          <a:ea typeface="+mn-ea"/>
          <a:cs typeface="+mn-cs"/>
        </a:defRPr>
      </a:lvl4pPr>
      <a:lvl5pPr marL="896112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 baseline="0">
          <a:solidFill>
            <a:schemeClr val="tx1"/>
          </a:solidFill>
          <a:latin typeface="+mn-lt"/>
          <a:ea typeface="+mn-ea"/>
          <a:cs typeface="+mn-cs"/>
        </a:defRPr>
      </a:lvl5pPr>
      <a:lvl6pPr marL="1078992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6pPr>
      <a:lvl7pPr marL="1261872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7pPr>
      <a:lvl8pPr marL="1444752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8pPr>
      <a:lvl9pPr marL="1618488" indent="-18288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2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2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AE93EE-71C8-4B5A-B928-961EF2C078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sz="2000" dirty="0"/>
              <a:t>EVENT-BASED DATA ASSURANCE</a:t>
            </a:r>
          </a:p>
          <a:p>
            <a:r>
              <a:rPr lang="en-GB" sz="1600" dirty="0"/>
              <a:t>WORKSHOP #6: RULES OF ENGAGEMENT (1)</a:t>
            </a:r>
          </a:p>
          <a:p>
            <a:r>
              <a:rPr lang="en-GB" sz="1200" dirty="0"/>
              <a:t>11</a:t>
            </a:r>
            <a:r>
              <a:rPr lang="en-GB" sz="1200" baseline="30000" dirty="0"/>
              <a:t>th</a:t>
            </a:r>
            <a:r>
              <a:rPr lang="en-GB" sz="1200" dirty="0"/>
              <a:t> March 2020</a:t>
            </a:r>
          </a:p>
        </p:txBody>
      </p:sp>
    </p:spTree>
    <p:extLst>
      <p:ext uri="{BB962C8B-B14F-4D97-AF65-F5344CB8AC3E}">
        <p14:creationId xmlns:p14="http://schemas.microsoft.com/office/powerpoint/2010/main" val="27870700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114B54B-57AF-4A51-9BCD-23915B03724E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sz="1800" dirty="0"/>
              <a:t>To minimise the friction involved in sharing expertise between collaborating parties</a:t>
            </a:r>
          </a:p>
          <a:p>
            <a:pPr lvl="1"/>
            <a:endParaRPr lang="en-GB" sz="1800" dirty="0"/>
          </a:p>
          <a:p>
            <a:r>
              <a:rPr lang="en-GB" sz="1800" dirty="0"/>
              <a:t>To reduce the effort and cost of administration over highly shared information</a:t>
            </a:r>
          </a:p>
          <a:p>
            <a:pPr lvl="1"/>
            <a:endParaRPr lang="en-GB" sz="1800" dirty="0"/>
          </a:p>
          <a:p>
            <a:r>
              <a:rPr lang="en-GB" sz="1800" dirty="0"/>
              <a:t>To de-duplicate information storage and inference over it (where appropriate)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1B456FE-C283-46EA-9E07-B43484EA51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b="1" dirty="0"/>
              <a:t>What is an OEF ecosystem trying to achieve?</a:t>
            </a:r>
            <a:br>
              <a:rPr lang="en-GB" sz="2400" b="1" dirty="0"/>
            </a:br>
            <a:r>
              <a:rPr lang="en-GB" sz="2400" dirty="0"/>
              <a:t>Incoming hypothesis</a:t>
            </a:r>
            <a:endParaRPr lang="en-GB" sz="2400" b="1" dirty="0"/>
          </a:p>
        </p:txBody>
      </p:sp>
    </p:spTree>
    <p:extLst>
      <p:ext uri="{BB962C8B-B14F-4D97-AF65-F5344CB8AC3E}">
        <p14:creationId xmlns:p14="http://schemas.microsoft.com/office/powerpoint/2010/main" val="18754112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56186774-3AD8-4B19-9163-E40FA2A2A4F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GB" sz="1800" dirty="0"/>
          </a:p>
          <a:p>
            <a:endParaRPr lang="en-GB" sz="1800" dirty="0"/>
          </a:p>
          <a:p>
            <a:endParaRPr lang="en-GB" sz="1800" dirty="0"/>
          </a:p>
          <a:p>
            <a:endParaRPr lang="en-GB" sz="1800" dirty="0"/>
          </a:p>
          <a:p>
            <a:endParaRPr lang="en-GB" sz="1800" dirty="0"/>
          </a:p>
          <a:p>
            <a:endParaRPr lang="en-GB" sz="1800" dirty="0"/>
          </a:p>
          <a:p>
            <a:r>
              <a:rPr lang="en-GB" sz="1800" dirty="0"/>
              <a:t>Supplier/buyer use different service providers, who then collaborate with each other to </a:t>
            </a:r>
            <a:r>
              <a:rPr lang="en-GB" sz="1800" b="1" dirty="0">
                <a:solidFill>
                  <a:srgbClr val="06706D"/>
                </a:solidFill>
              </a:rPr>
              <a:t>process e-documents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E1CC74E4-8156-422E-BD49-A4776EEB9EA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sz="1800" dirty="0">
                <a:solidFill>
                  <a:schemeClr val="tx1"/>
                </a:solidFill>
              </a:rPr>
              <a:t>4 corner model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76FF0FBB-BFA0-4D24-A185-EDCD846ED7EC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GB" sz="1800" dirty="0"/>
          </a:p>
          <a:p>
            <a:endParaRPr lang="en-GB" sz="1800" dirty="0"/>
          </a:p>
          <a:p>
            <a:endParaRPr lang="en-GB" sz="1800" dirty="0"/>
          </a:p>
          <a:p>
            <a:endParaRPr lang="en-GB" sz="1800" dirty="0"/>
          </a:p>
          <a:p>
            <a:endParaRPr lang="en-GB" sz="1800" dirty="0"/>
          </a:p>
          <a:p>
            <a:endParaRPr lang="en-GB" sz="1800" dirty="0"/>
          </a:p>
          <a:p>
            <a:r>
              <a:rPr lang="en-GB" sz="1800" dirty="0"/>
              <a:t>Supplier/buyer use the same third party service provider to </a:t>
            </a:r>
            <a:r>
              <a:rPr lang="en-GB" sz="1800" b="1" dirty="0">
                <a:solidFill>
                  <a:srgbClr val="06706D"/>
                </a:solidFill>
              </a:rPr>
              <a:t>process e-documents </a:t>
            </a:r>
            <a:r>
              <a:rPr lang="en-GB" sz="1800" dirty="0"/>
              <a:t>between them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5E47ABF-6A21-4AAA-A5DC-D50B259CBC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1800" dirty="0">
                <a:solidFill>
                  <a:schemeClr val="tx1"/>
                </a:solidFill>
              </a:rPr>
              <a:t>3 corner model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3B38410D-4A6F-4668-841C-4156ED3096B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2587752" cy="4443984"/>
          </a:xfrm>
        </p:spPr>
        <p:txBody>
          <a:bodyPr/>
          <a:lstStyle/>
          <a:p>
            <a:endParaRPr lang="en-GB" sz="1800" dirty="0"/>
          </a:p>
          <a:p>
            <a:endParaRPr lang="en-GB" sz="1800" dirty="0"/>
          </a:p>
          <a:p>
            <a:endParaRPr lang="en-GB" sz="1800" dirty="0"/>
          </a:p>
          <a:p>
            <a:endParaRPr lang="en-GB" sz="1800" dirty="0"/>
          </a:p>
          <a:p>
            <a:endParaRPr lang="en-GB" sz="1800" dirty="0"/>
          </a:p>
          <a:p>
            <a:endParaRPr lang="en-GB" sz="1800" dirty="0"/>
          </a:p>
          <a:p>
            <a:r>
              <a:rPr lang="en-GB" sz="1800" dirty="0"/>
              <a:t>Peer-to-peer process where the supplier and buyer directly </a:t>
            </a:r>
            <a:r>
              <a:rPr lang="en-GB" sz="1800" b="1" dirty="0">
                <a:solidFill>
                  <a:srgbClr val="06706D"/>
                </a:solidFill>
              </a:rPr>
              <a:t>share documents </a:t>
            </a:r>
            <a:r>
              <a:rPr lang="en-GB" sz="1800" dirty="0"/>
              <a:t>using EDI / XML fi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A1350FA-A4D6-49BA-BA6E-A183995F6B8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sz="1800" dirty="0">
                <a:solidFill>
                  <a:schemeClr val="tx1"/>
                </a:solidFill>
              </a:rPr>
              <a:t>2 corner mod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CAAD5BD-5CB5-4979-AAFA-A0534966D8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b="1" dirty="0"/>
              <a:t>What are the alternatives?</a:t>
            </a:r>
            <a:br>
              <a:rPr lang="en-GB" sz="2400" b="1" dirty="0"/>
            </a:br>
            <a:r>
              <a:rPr lang="en-GB" sz="2400" dirty="0"/>
              <a:t>Illustrative example: models of e-invoicing*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F5C6F64-81C4-4CF5-9610-31001E73C8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57575" y="1880806"/>
            <a:ext cx="2686050" cy="150418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7809B06-4AC3-4383-B0F4-4A8A955554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04956" y="1883663"/>
            <a:ext cx="2690336" cy="18802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67F6509-3D21-4C5B-8D56-BD3C89C883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6619" y="1880806"/>
            <a:ext cx="2728913" cy="94297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C78E793-C016-4916-8461-0447AA86D434}"/>
              </a:ext>
            </a:extLst>
          </p:cNvPr>
          <p:cNvSpPr txBox="1"/>
          <p:nvPr/>
        </p:nvSpPr>
        <p:spPr>
          <a:xfrm>
            <a:off x="457200" y="6320064"/>
            <a:ext cx="187871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000" dirty="0"/>
              <a:t>* Source: cloudtradenetwork.com</a:t>
            </a:r>
          </a:p>
        </p:txBody>
      </p:sp>
    </p:spTree>
    <p:extLst>
      <p:ext uri="{BB962C8B-B14F-4D97-AF65-F5344CB8AC3E}">
        <p14:creationId xmlns:p14="http://schemas.microsoft.com/office/powerpoint/2010/main" val="7188212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/>
      <p:bldP spid="20" grpId="0" build="p"/>
      <p:bldP spid="17" grpId="0" build="p"/>
      <p:bldP spid="18" grpId="0" build="p"/>
      <p:bldP spid="16" grpId="0" build="p"/>
      <p:bldP spid="15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E965694-5278-4BA6-B0B2-08E68B076B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84048"/>
            <a:ext cx="8686800" cy="758952"/>
          </a:xfrm>
        </p:spPr>
        <p:txBody>
          <a:bodyPr/>
          <a:lstStyle/>
          <a:p>
            <a:r>
              <a:rPr lang="en-GB" sz="2400" b="1" dirty="0"/>
              <a:t>As an ecosystem, we will…:</a:t>
            </a:r>
            <a:br>
              <a:rPr lang="en-GB" sz="2400" b="1" dirty="0"/>
            </a:br>
            <a:r>
              <a:rPr lang="en-GB" sz="2400" dirty="0"/>
              <a:t>Create a consistent, meaningful and accessible metadata layer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DF27F42-0D6F-4FA5-84CB-A34BDA841A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2623" y="1692978"/>
            <a:ext cx="3887146" cy="380911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9D6885D-7A0D-49AD-8618-4C219F5D8F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3604" y="3215772"/>
            <a:ext cx="2531277" cy="309447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86AE803-EB56-454F-B9BD-784095D14E22}"/>
              </a:ext>
            </a:extLst>
          </p:cNvPr>
          <p:cNvSpPr txBox="1"/>
          <p:nvPr/>
        </p:nvSpPr>
        <p:spPr>
          <a:xfrm>
            <a:off x="2522557" y="3448742"/>
            <a:ext cx="912109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GB" sz="2000" b="1" dirty="0"/>
              <a:t> Events</a:t>
            </a:r>
          </a:p>
        </p:txBody>
      </p:sp>
      <p:sp>
        <p:nvSpPr>
          <p:cNvPr id="10" name="Arrow: Left 9">
            <a:extLst>
              <a:ext uri="{FF2B5EF4-FFF2-40B4-BE49-F238E27FC236}">
                <a16:creationId xmlns:a16="http://schemas.microsoft.com/office/drawing/2014/main" id="{A7B1A50E-82DE-4378-8113-60E27915ADDD}"/>
              </a:ext>
            </a:extLst>
          </p:cNvPr>
          <p:cNvSpPr/>
          <p:nvPr/>
        </p:nvSpPr>
        <p:spPr>
          <a:xfrm rot="1291155">
            <a:off x="3680656" y="4099666"/>
            <a:ext cx="2166192" cy="441251"/>
          </a:xfrm>
          <a:prstGeom prst="leftArrow">
            <a:avLst/>
          </a:prstGeom>
          <a:solidFill>
            <a:srgbClr val="06706D"/>
          </a:solidFill>
          <a:ln w="9525">
            <a:solidFill>
              <a:srgbClr val="0670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F09F4B7-BBE9-4E5A-8037-245633F2C887}"/>
              </a:ext>
            </a:extLst>
          </p:cNvPr>
          <p:cNvSpPr txBox="1"/>
          <p:nvPr/>
        </p:nvSpPr>
        <p:spPr>
          <a:xfrm>
            <a:off x="3763148" y="2329446"/>
            <a:ext cx="612000" cy="338554"/>
          </a:xfrm>
          <a:prstGeom prst="rect">
            <a:avLst/>
          </a:prstGeom>
          <a:solidFill>
            <a:srgbClr val="C5CAE7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/>
              <a:t>Expert System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1C2B53D-F6E8-46F4-A98C-CCB33ACC6809}"/>
              </a:ext>
            </a:extLst>
          </p:cNvPr>
          <p:cNvSpPr txBox="1"/>
          <p:nvPr/>
        </p:nvSpPr>
        <p:spPr>
          <a:xfrm>
            <a:off x="4264308" y="3443003"/>
            <a:ext cx="612000" cy="338554"/>
          </a:xfrm>
          <a:prstGeom prst="rect">
            <a:avLst/>
          </a:prstGeom>
          <a:solidFill>
            <a:srgbClr val="C5CAE7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/>
              <a:t>Expert System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7146E4B-4AF2-4311-B935-6C20DC176D3B}"/>
              </a:ext>
            </a:extLst>
          </p:cNvPr>
          <p:cNvSpPr txBox="1"/>
          <p:nvPr/>
        </p:nvSpPr>
        <p:spPr>
          <a:xfrm>
            <a:off x="3763148" y="4557901"/>
            <a:ext cx="612000" cy="338554"/>
          </a:xfrm>
          <a:prstGeom prst="rect">
            <a:avLst/>
          </a:prstGeom>
          <a:solidFill>
            <a:srgbClr val="C5CAE7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/>
              <a:t>Expert System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1017F79-2A4B-4DFD-9DD6-6BBA780A9343}"/>
              </a:ext>
            </a:extLst>
          </p:cNvPr>
          <p:cNvSpPr txBox="1"/>
          <p:nvPr/>
        </p:nvSpPr>
        <p:spPr>
          <a:xfrm>
            <a:off x="2672611" y="5015761"/>
            <a:ext cx="612000" cy="338554"/>
          </a:xfrm>
          <a:prstGeom prst="rect">
            <a:avLst/>
          </a:prstGeom>
          <a:solidFill>
            <a:srgbClr val="C5CAE7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/>
              <a:t>Expert System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B0060C1-1D0F-434E-8C25-6D3C8C5EB462}"/>
              </a:ext>
            </a:extLst>
          </p:cNvPr>
          <p:cNvSpPr txBox="1"/>
          <p:nvPr/>
        </p:nvSpPr>
        <p:spPr>
          <a:xfrm>
            <a:off x="1585297" y="4557901"/>
            <a:ext cx="612000" cy="338554"/>
          </a:xfrm>
          <a:prstGeom prst="rect">
            <a:avLst/>
          </a:prstGeom>
          <a:solidFill>
            <a:srgbClr val="C5CAE7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/>
              <a:t>Expert System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8F2CC8B-10B2-4D0C-95C0-17AAD351A7C6}"/>
              </a:ext>
            </a:extLst>
          </p:cNvPr>
          <p:cNvSpPr txBox="1"/>
          <p:nvPr/>
        </p:nvSpPr>
        <p:spPr>
          <a:xfrm>
            <a:off x="1080915" y="3443003"/>
            <a:ext cx="612000" cy="338554"/>
          </a:xfrm>
          <a:prstGeom prst="rect">
            <a:avLst/>
          </a:prstGeom>
          <a:solidFill>
            <a:srgbClr val="C5CAE7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/>
              <a:t>Expert System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C0F9A31-12AE-4D71-BB0B-9F6CBDB5674C}"/>
              </a:ext>
            </a:extLst>
          </p:cNvPr>
          <p:cNvSpPr txBox="1"/>
          <p:nvPr/>
        </p:nvSpPr>
        <p:spPr>
          <a:xfrm>
            <a:off x="1585297" y="2329446"/>
            <a:ext cx="612000" cy="338554"/>
          </a:xfrm>
          <a:prstGeom prst="rect">
            <a:avLst/>
          </a:prstGeom>
          <a:solidFill>
            <a:srgbClr val="C5CAE7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/>
              <a:t>Expert System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2A2A2E9-BCFE-4D5D-A13A-211485AB8C09}"/>
              </a:ext>
            </a:extLst>
          </p:cNvPr>
          <p:cNvSpPr txBox="1"/>
          <p:nvPr/>
        </p:nvSpPr>
        <p:spPr>
          <a:xfrm>
            <a:off x="2672611" y="1820926"/>
            <a:ext cx="612000" cy="338554"/>
          </a:xfrm>
          <a:prstGeom prst="rect">
            <a:avLst/>
          </a:prstGeom>
          <a:solidFill>
            <a:srgbClr val="C5CAE7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/>
              <a:t>Expert System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1D3F60DE-CBD0-40CA-9DAC-DE066C39B17B}"/>
              </a:ext>
            </a:extLst>
          </p:cNvPr>
          <p:cNvSpPr/>
          <p:nvPr/>
        </p:nvSpPr>
        <p:spPr>
          <a:xfrm>
            <a:off x="938321" y="1545687"/>
            <a:ext cx="4104000" cy="4104000"/>
          </a:xfrm>
          <a:prstGeom prst="ellipse">
            <a:avLst/>
          </a:pr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13AE886-8D03-424E-9F61-75063695F925}"/>
              </a:ext>
            </a:extLst>
          </p:cNvPr>
          <p:cNvSpPr txBox="1"/>
          <p:nvPr/>
        </p:nvSpPr>
        <p:spPr>
          <a:xfrm>
            <a:off x="2617372" y="1310760"/>
            <a:ext cx="72247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100" b="1" dirty="0"/>
              <a:t>Participan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AD3C63B-F6BF-4009-9BFC-AAEC2ED46D71}"/>
              </a:ext>
            </a:extLst>
          </p:cNvPr>
          <p:cNvSpPr txBox="1"/>
          <p:nvPr/>
        </p:nvSpPr>
        <p:spPr>
          <a:xfrm>
            <a:off x="4439361" y="1986351"/>
            <a:ext cx="72247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100" b="1" dirty="0"/>
              <a:t>Participan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B31161E-BEE4-4A70-A419-06A50C2D9C83}"/>
              </a:ext>
            </a:extLst>
          </p:cNvPr>
          <p:cNvSpPr txBox="1"/>
          <p:nvPr/>
        </p:nvSpPr>
        <p:spPr>
          <a:xfrm>
            <a:off x="5104589" y="3527641"/>
            <a:ext cx="72247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100" b="1" dirty="0"/>
              <a:t>Participan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1DF3D88-87FB-45E0-B44D-7347748C5D0F}"/>
              </a:ext>
            </a:extLst>
          </p:cNvPr>
          <p:cNvSpPr txBox="1"/>
          <p:nvPr/>
        </p:nvSpPr>
        <p:spPr>
          <a:xfrm>
            <a:off x="4439361" y="5185038"/>
            <a:ext cx="72247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100" b="1" dirty="0"/>
              <a:t>Participan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D122B96-E05A-4F56-A4F0-7D56A61E402B}"/>
              </a:ext>
            </a:extLst>
          </p:cNvPr>
          <p:cNvSpPr txBox="1"/>
          <p:nvPr/>
        </p:nvSpPr>
        <p:spPr>
          <a:xfrm>
            <a:off x="2605596" y="5712339"/>
            <a:ext cx="72247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100" b="1" dirty="0"/>
              <a:t>Participan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B376369-8D1A-4AAE-8DD6-40F62F250D34}"/>
              </a:ext>
            </a:extLst>
          </p:cNvPr>
          <p:cNvSpPr txBox="1"/>
          <p:nvPr/>
        </p:nvSpPr>
        <p:spPr>
          <a:xfrm>
            <a:off x="778902" y="1978310"/>
            <a:ext cx="72247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100" b="1" dirty="0"/>
              <a:t>Participan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08982AA-561A-4A63-97E5-DA189100AD2C}"/>
              </a:ext>
            </a:extLst>
          </p:cNvPr>
          <p:cNvSpPr txBox="1"/>
          <p:nvPr/>
        </p:nvSpPr>
        <p:spPr>
          <a:xfrm>
            <a:off x="149523" y="3512894"/>
            <a:ext cx="72247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100" b="1" dirty="0"/>
              <a:t>Participan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5516D6F-5335-4FF3-A440-349EE2D716B2}"/>
              </a:ext>
            </a:extLst>
          </p:cNvPr>
          <p:cNvSpPr txBox="1"/>
          <p:nvPr/>
        </p:nvSpPr>
        <p:spPr>
          <a:xfrm>
            <a:off x="800388" y="5185038"/>
            <a:ext cx="72247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100" b="1" dirty="0"/>
              <a:t>Participant</a:t>
            </a:r>
          </a:p>
        </p:txBody>
      </p:sp>
    </p:spTree>
    <p:extLst>
      <p:ext uri="{BB962C8B-B14F-4D97-AF65-F5344CB8AC3E}">
        <p14:creationId xmlns:p14="http://schemas.microsoft.com/office/powerpoint/2010/main" val="13233151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114B54B-57AF-4A51-9BCD-23915B03724E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sz="1800" dirty="0"/>
              <a:t>“I have already collated/validated/processed </a:t>
            </a:r>
            <a:r>
              <a:rPr lang="en-GB" sz="1800" i="1" dirty="0"/>
              <a:t>this information </a:t>
            </a:r>
            <a:r>
              <a:rPr lang="en-GB" sz="1800" dirty="0"/>
              <a:t>about </a:t>
            </a:r>
            <a:r>
              <a:rPr lang="en-GB" sz="1800" i="1" dirty="0"/>
              <a:t>this thing</a:t>
            </a:r>
            <a:r>
              <a:rPr lang="en-GB" sz="1800" dirty="0"/>
              <a:t>”</a:t>
            </a:r>
          </a:p>
          <a:p>
            <a:pPr marL="0" indent="0">
              <a:buNone/>
            </a:pPr>
            <a:r>
              <a:rPr lang="en-GB" sz="1800" dirty="0"/>
              <a:t>Or</a:t>
            </a:r>
          </a:p>
          <a:p>
            <a:r>
              <a:rPr lang="en-GB" sz="1800" dirty="0"/>
              <a:t>“I am in a position to collate/validate/process </a:t>
            </a:r>
            <a:r>
              <a:rPr lang="en-GB" sz="1800" i="1" dirty="0"/>
              <a:t>this information </a:t>
            </a:r>
            <a:r>
              <a:rPr lang="en-GB" sz="1800" dirty="0"/>
              <a:t>about </a:t>
            </a:r>
            <a:r>
              <a:rPr lang="en-GB" sz="1800" i="1" dirty="0"/>
              <a:t>this</a:t>
            </a:r>
            <a:r>
              <a:rPr lang="en-GB" sz="1800" dirty="0"/>
              <a:t> </a:t>
            </a:r>
            <a:r>
              <a:rPr lang="en-GB" sz="1800" i="1" dirty="0"/>
              <a:t>thing</a:t>
            </a:r>
            <a:r>
              <a:rPr lang="en-GB" sz="1800" dirty="0"/>
              <a:t>”</a:t>
            </a:r>
          </a:p>
          <a:p>
            <a:pPr marL="0" indent="0">
              <a:buNone/>
            </a:pPr>
            <a:r>
              <a:rPr lang="en-GB" sz="1800" dirty="0"/>
              <a:t>And</a:t>
            </a:r>
          </a:p>
          <a:p>
            <a:r>
              <a:rPr lang="en-GB" sz="1800" dirty="0"/>
              <a:t>“Here is what I mean by collate/validate/process”</a:t>
            </a:r>
          </a:p>
          <a:p>
            <a:r>
              <a:rPr lang="en-GB" sz="1800" dirty="0"/>
              <a:t>“Here is what I mean by </a:t>
            </a:r>
            <a:r>
              <a:rPr lang="en-GB" sz="1800" i="1" dirty="0"/>
              <a:t>this information</a:t>
            </a:r>
            <a:r>
              <a:rPr lang="en-GB" sz="1800" dirty="0"/>
              <a:t>”</a:t>
            </a:r>
          </a:p>
          <a:p>
            <a:r>
              <a:rPr lang="en-GB" sz="1800" dirty="0"/>
              <a:t>“Here is what I mean by </a:t>
            </a:r>
            <a:r>
              <a:rPr lang="en-GB" sz="1800" i="1" dirty="0"/>
              <a:t>this thing</a:t>
            </a:r>
            <a:r>
              <a:rPr lang="en-GB" sz="1800" dirty="0"/>
              <a:t>”</a:t>
            </a:r>
          </a:p>
          <a:p>
            <a:pPr marL="0" indent="0">
              <a:buNone/>
            </a:pPr>
            <a:r>
              <a:rPr lang="en-GB" sz="1800" dirty="0"/>
              <a:t>And</a:t>
            </a:r>
          </a:p>
          <a:p>
            <a:r>
              <a:rPr lang="en-GB" sz="1800" dirty="0"/>
              <a:t>“This is what you need to do to acquire the attributes that authorise you to read/write/append/control </a:t>
            </a:r>
            <a:r>
              <a:rPr lang="en-GB" sz="1800" i="1" dirty="0"/>
              <a:t>this information </a:t>
            </a:r>
            <a:r>
              <a:rPr lang="en-GB" sz="1800" dirty="0"/>
              <a:t>about </a:t>
            </a:r>
            <a:r>
              <a:rPr lang="en-GB" sz="1800" i="1" dirty="0"/>
              <a:t>this thing</a:t>
            </a:r>
            <a:r>
              <a:rPr lang="en-GB" sz="1800" dirty="0"/>
              <a:t>”</a:t>
            </a:r>
          </a:p>
          <a:p>
            <a:r>
              <a:rPr lang="en-GB" sz="1800" dirty="0"/>
              <a:t>“This is what I mean by read/write/append/control – i.e. terms of authorised access”</a:t>
            </a:r>
          </a:p>
          <a:p>
            <a:pPr marL="0" indent="0">
              <a:buNone/>
            </a:pPr>
            <a:r>
              <a:rPr lang="en-GB" sz="1800" dirty="0"/>
              <a:t>And</a:t>
            </a:r>
          </a:p>
          <a:p>
            <a:r>
              <a:rPr lang="en-GB" sz="1800" dirty="0"/>
              <a:t>“Here is how we agree to track what happens next”</a:t>
            </a:r>
          </a:p>
          <a:p>
            <a:r>
              <a:rPr lang="en-GB" sz="1800" dirty="0"/>
              <a:t>“Here is what happens if you breach the terms of authorised access”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1B456FE-C283-46EA-9E07-B43484EA51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b="1" dirty="0"/>
              <a:t>As an ecosystem, we will…:</a:t>
            </a:r>
            <a:br>
              <a:rPr lang="en-GB" sz="2400" b="1" dirty="0"/>
            </a:br>
            <a:r>
              <a:rPr lang="en-GB" sz="2400" dirty="0"/>
              <a:t>Express key concepts in a consistent, machine readable way</a:t>
            </a:r>
          </a:p>
        </p:txBody>
      </p:sp>
    </p:spTree>
    <p:extLst>
      <p:ext uri="{BB962C8B-B14F-4D97-AF65-F5344CB8AC3E}">
        <p14:creationId xmlns:p14="http://schemas.microsoft.com/office/powerpoint/2010/main" val="56124416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114B54B-57AF-4A51-9BCD-23915B03724E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sz="1800" dirty="0"/>
              <a:t>“I have already collated/validated/processed </a:t>
            </a:r>
            <a:r>
              <a:rPr lang="en-GB" sz="1800" i="1" dirty="0"/>
              <a:t>this information </a:t>
            </a:r>
            <a:r>
              <a:rPr lang="en-GB" sz="1800" dirty="0"/>
              <a:t>about </a:t>
            </a:r>
            <a:r>
              <a:rPr lang="en-GB" sz="1800" i="1" dirty="0"/>
              <a:t>this thing</a:t>
            </a:r>
            <a:r>
              <a:rPr lang="en-GB" sz="1800" dirty="0"/>
              <a:t>”</a:t>
            </a:r>
          </a:p>
          <a:p>
            <a:pPr marL="0" indent="0">
              <a:buNone/>
            </a:pPr>
            <a:r>
              <a:rPr lang="en-GB" sz="1800" dirty="0"/>
              <a:t>Or</a:t>
            </a:r>
          </a:p>
          <a:p>
            <a:r>
              <a:rPr lang="en-GB" sz="1800" dirty="0"/>
              <a:t>“I am in a position to collate/validate/process </a:t>
            </a:r>
            <a:r>
              <a:rPr lang="en-GB" sz="1800" i="1" dirty="0"/>
              <a:t>this information </a:t>
            </a:r>
            <a:r>
              <a:rPr lang="en-GB" sz="1800" dirty="0"/>
              <a:t>about </a:t>
            </a:r>
            <a:r>
              <a:rPr lang="en-GB" sz="1800" i="1" dirty="0"/>
              <a:t>this</a:t>
            </a:r>
            <a:r>
              <a:rPr lang="en-GB" sz="1800" dirty="0"/>
              <a:t> </a:t>
            </a:r>
            <a:r>
              <a:rPr lang="en-GB" sz="1800" i="1" dirty="0"/>
              <a:t>thing</a:t>
            </a:r>
            <a:r>
              <a:rPr lang="en-GB" sz="1800" dirty="0"/>
              <a:t>”</a:t>
            </a:r>
          </a:p>
          <a:p>
            <a:pPr marL="0" indent="0">
              <a:buNone/>
            </a:pPr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And</a:t>
            </a:r>
          </a:p>
          <a:p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“Here is what I mean by collate/validate/process”</a:t>
            </a:r>
          </a:p>
          <a:p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“Here is what I mean by </a:t>
            </a:r>
            <a:r>
              <a:rPr lang="en-GB" sz="1800" i="1" dirty="0">
                <a:solidFill>
                  <a:schemeClr val="bg1">
                    <a:lumMod val="75000"/>
                  </a:schemeClr>
                </a:solidFill>
              </a:rPr>
              <a:t>this information</a:t>
            </a:r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”</a:t>
            </a:r>
          </a:p>
          <a:p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“Here is what I mean by </a:t>
            </a:r>
            <a:r>
              <a:rPr lang="en-GB" sz="1800" i="1" dirty="0">
                <a:solidFill>
                  <a:schemeClr val="bg1">
                    <a:lumMod val="75000"/>
                  </a:schemeClr>
                </a:solidFill>
              </a:rPr>
              <a:t>this thing</a:t>
            </a:r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”</a:t>
            </a:r>
          </a:p>
          <a:p>
            <a:pPr marL="0" indent="0">
              <a:buNone/>
            </a:pPr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And</a:t>
            </a:r>
          </a:p>
          <a:p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“This is what you need to do to acquire the attributes that authorise you to read/write/append/control </a:t>
            </a:r>
            <a:r>
              <a:rPr lang="en-GB" sz="1800" i="1" dirty="0">
                <a:solidFill>
                  <a:schemeClr val="bg1">
                    <a:lumMod val="75000"/>
                  </a:schemeClr>
                </a:solidFill>
              </a:rPr>
              <a:t>this information </a:t>
            </a:r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about </a:t>
            </a:r>
            <a:r>
              <a:rPr lang="en-GB" sz="1800" i="1" dirty="0">
                <a:solidFill>
                  <a:schemeClr val="bg1">
                    <a:lumMod val="75000"/>
                  </a:schemeClr>
                </a:solidFill>
              </a:rPr>
              <a:t>this thing</a:t>
            </a:r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”</a:t>
            </a:r>
          </a:p>
          <a:p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“This is what I mean by read/write/append/control – i.e. terms of authorised access”</a:t>
            </a:r>
          </a:p>
          <a:p>
            <a:pPr marL="0" indent="0">
              <a:buNone/>
            </a:pPr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And</a:t>
            </a:r>
          </a:p>
          <a:p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“Here is how we agree to track what happens next”</a:t>
            </a:r>
          </a:p>
          <a:p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“Here is what happens if you breach the terms of authorised access”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1B456FE-C283-46EA-9E07-B43484EA51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b="1" dirty="0"/>
              <a:t>As an ecosystem, we will…:</a:t>
            </a:r>
            <a:br>
              <a:rPr lang="en-GB" sz="2400" b="1" dirty="0"/>
            </a:br>
            <a:r>
              <a:rPr lang="en-GB" sz="2400" dirty="0"/>
              <a:t>Express key concepts in a consistent, machine readable way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C6C7BFB-7BCF-40B5-AD68-45BAF6F10190}"/>
              </a:ext>
            </a:extLst>
          </p:cNvPr>
          <p:cNvGrpSpPr/>
          <p:nvPr/>
        </p:nvGrpSpPr>
        <p:grpSpPr>
          <a:xfrm>
            <a:off x="6224954" y="3049524"/>
            <a:ext cx="2101361" cy="758952"/>
            <a:chOff x="6198577" y="2892669"/>
            <a:chExt cx="2101361" cy="758952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2B473112-AB31-4EBE-8AD1-48E60091FDE3}"/>
                </a:ext>
              </a:extLst>
            </p:cNvPr>
            <p:cNvSpPr/>
            <p:nvPr/>
          </p:nvSpPr>
          <p:spPr>
            <a:xfrm>
              <a:off x="6198577" y="2892669"/>
              <a:ext cx="2101361" cy="758952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dirty="0">
                <a:solidFill>
                  <a:schemeClr val="tx1"/>
                </a:solidFill>
              </a:endParaRP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2711023-C38C-44AC-AE17-5E0E41C64513}"/>
                </a:ext>
              </a:extLst>
            </p:cNvPr>
            <p:cNvSpPr txBox="1"/>
            <p:nvPr/>
          </p:nvSpPr>
          <p:spPr>
            <a:xfrm>
              <a:off x="6742708" y="3133646"/>
              <a:ext cx="1013098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b="1" dirty="0">
                  <a:solidFill>
                    <a:srgbClr val="00B0F0"/>
                  </a:solidFill>
                </a:rPr>
                <a:t>Directory</a:t>
              </a:r>
            </a:p>
          </p:txBody>
        </p:sp>
      </p:grp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DA109F29-25C3-430E-B5C1-B39D88E1D2F2}"/>
              </a:ext>
            </a:extLst>
          </p:cNvPr>
          <p:cNvCxnSpPr>
            <a:cxnSpLocks/>
          </p:cNvCxnSpPr>
          <p:nvPr/>
        </p:nvCxnSpPr>
        <p:spPr>
          <a:xfrm flipH="1" flipV="1">
            <a:off x="4466493" y="2567354"/>
            <a:ext cx="1758461" cy="879549"/>
          </a:xfrm>
          <a:prstGeom prst="straightConnector1">
            <a:avLst/>
          </a:prstGeom>
          <a:ln w="28575">
            <a:solidFill>
              <a:srgbClr val="00B0F0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02335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114B54B-57AF-4A51-9BCD-23915B03724E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“I have already collated/validated/processed </a:t>
            </a:r>
            <a:r>
              <a:rPr lang="en-GB" sz="1800" i="1" dirty="0">
                <a:solidFill>
                  <a:schemeClr val="bg1">
                    <a:lumMod val="75000"/>
                  </a:schemeClr>
                </a:solidFill>
              </a:rPr>
              <a:t>this information </a:t>
            </a:r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about </a:t>
            </a:r>
            <a:r>
              <a:rPr lang="en-GB" sz="1800" i="1" dirty="0">
                <a:solidFill>
                  <a:schemeClr val="bg1">
                    <a:lumMod val="75000"/>
                  </a:schemeClr>
                </a:solidFill>
              </a:rPr>
              <a:t>this thing</a:t>
            </a:r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”</a:t>
            </a:r>
          </a:p>
          <a:p>
            <a:pPr marL="0" indent="0">
              <a:buNone/>
            </a:pPr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Or</a:t>
            </a:r>
          </a:p>
          <a:p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“I am in a position to collate/validate/process </a:t>
            </a:r>
            <a:r>
              <a:rPr lang="en-GB" sz="1800" i="1" dirty="0">
                <a:solidFill>
                  <a:schemeClr val="bg1">
                    <a:lumMod val="75000"/>
                  </a:schemeClr>
                </a:solidFill>
              </a:rPr>
              <a:t>this information </a:t>
            </a:r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about </a:t>
            </a:r>
            <a:r>
              <a:rPr lang="en-GB" sz="1800" i="1" dirty="0">
                <a:solidFill>
                  <a:schemeClr val="bg1">
                    <a:lumMod val="75000"/>
                  </a:schemeClr>
                </a:solidFill>
              </a:rPr>
              <a:t>this</a:t>
            </a:r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en-GB" sz="1800" i="1" dirty="0">
                <a:solidFill>
                  <a:schemeClr val="bg1">
                    <a:lumMod val="75000"/>
                  </a:schemeClr>
                </a:solidFill>
              </a:rPr>
              <a:t>thing</a:t>
            </a:r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”</a:t>
            </a:r>
          </a:p>
          <a:p>
            <a:pPr marL="0" indent="0">
              <a:buNone/>
            </a:pPr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And</a:t>
            </a:r>
          </a:p>
          <a:p>
            <a:r>
              <a:rPr lang="en-GB" sz="1800" dirty="0"/>
              <a:t>“Here is what I mean by collate/validate/process”</a:t>
            </a:r>
          </a:p>
          <a:p>
            <a:r>
              <a:rPr lang="en-GB" sz="1800" dirty="0"/>
              <a:t>“Here is what I mean by </a:t>
            </a:r>
            <a:r>
              <a:rPr lang="en-GB" sz="1800" i="1" dirty="0"/>
              <a:t>this information</a:t>
            </a:r>
            <a:r>
              <a:rPr lang="en-GB" sz="1800" dirty="0"/>
              <a:t>”</a:t>
            </a:r>
          </a:p>
          <a:p>
            <a:r>
              <a:rPr lang="en-GB" sz="1800" dirty="0"/>
              <a:t>“Here is what I mean by </a:t>
            </a:r>
            <a:r>
              <a:rPr lang="en-GB" sz="1800" i="1" dirty="0"/>
              <a:t>this thing</a:t>
            </a:r>
            <a:r>
              <a:rPr lang="en-GB" sz="1800" dirty="0"/>
              <a:t>”</a:t>
            </a:r>
          </a:p>
          <a:p>
            <a:pPr marL="0" indent="0">
              <a:buNone/>
            </a:pPr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And</a:t>
            </a:r>
          </a:p>
          <a:p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“This is what you need to do to acquire the attributes that authorise you to read/write/append/control </a:t>
            </a:r>
            <a:r>
              <a:rPr lang="en-GB" sz="1800" i="1" dirty="0">
                <a:solidFill>
                  <a:schemeClr val="bg1">
                    <a:lumMod val="75000"/>
                  </a:schemeClr>
                </a:solidFill>
              </a:rPr>
              <a:t>this information </a:t>
            </a:r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about </a:t>
            </a:r>
            <a:r>
              <a:rPr lang="en-GB" sz="1800" i="1" dirty="0">
                <a:solidFill>
                  <a:schemeClr val="bg1">
                    <a:lumMod val="75000"/>
                  </a:schemeClr>
                </a:solidFill>
              </a:rPr>
              <a:t>this thing</a:t>
            </a:r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”</a:t>
            </a:r>
          </a:p>
          <a:p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“This is what I mean by read/write/append/control – i.e. terms of authorised access”</a:t>
            </a:r>
          </a:p>
          <a:p>
            <a:pPr marL="0" indent="0">
              <a:buNone/>
            </a:pPr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And</a:t>
            </a:r>
          </a:p>
          <a:p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“Here is how we agree to track what happens next”</a:t>
            </a:r>
          </a:p>
          <a:p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“Here is what happens if you breach the terms of authorised access”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1B456FE-C283-46EA-9E07-B43484EA51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b="1" dirty="0"/>
              <a:t>As an ecosystem, we will…:</a:t>
            </a:r>
            <a:br>
              <a:rPr lang="en-GB" sz="2400" b="1" dirty="0"/>
            </a:br>
            <a:r>
              <a:rPr lang="en-GB" sz="2400" dirty="0"/>
              <a:t>Express key concepts in a consistent, machine readable way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C6C7BFB-7BCF-40B5-AD68-45BAF6F10190}"/>
              </a:ext>
            </a:extLst>
          </p:cNvPr>
          <p:cNvGrpSpPr/>
          <p:nvPr/>
        </p:nvGrpSpPr>
        <p:grpSpPr>
          <a:xfrm>
            <a:off x="6224954" y="3049524"/>
            <a:ext cx="2101361" cy="758952"/>
            <a:chOff x="6198577" y="2892669"/>
            <a:chExt cx="2101361" cy="758952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2B473112-AB31-4EBE-8AD1-48E60091FDE3}"/>
                </a:ext>
              </a:extLst>
            </p:cNvPr>
            <p:cNvSpPr/>
            <p:nvPr/>
          </p:nvSpPr>
          <p:spPr>
            <a:xfrm>
              <a:off x="6198577" y="2892669"/>
              <a:ext cx="2101361" cy="758952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dirty="0">
                <a:solidFill>
                  <a:schemeClr val="tx1"/>
                </a:solidFill>
              </a:endParaRP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2711023-C38C-44AC-AE17-5E0E41C64513}"/>
                </a:ext>
              </a:extLst>
            </p:cNvPr>
            <p:cNvSpPr txBox="1"/>
            <p:nvPr/>
          </p:nvSpPr>
          <p:spPr>
            <a:xfrm>
              <a:off x="6606922" y="3028438"/>
              <a:ext cx="1284669" cy="52322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b="1" dirty="0">
                  <a:solidFill>
                    <a:srgbClr val="00B0F0"/>
                  </a:solidFill>
                </a:rPr>
                <a:t>Ontology </a:t>
              </a:r>
              <a:r>
                <a:rPr lang="en-GB" sz="1600" b="1" dirty="0">
                  <a:solidFill>
                    <a:srgbClr val="00B0F0"/>
                  </a:solidFill>
                </a:rPr>
                <a:t>(declarative)</a:t>
              </a:r>
            </a:p>
          </p:txBody>
        </p:sp>
      </p:grp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DA109F29-25C3-430E-B5C1-B39D88E1D2F2}"/>
              </a:ext>
            </a:extLst>
          </p:cNvPr>
          <p:cNvCxnSpPr>
            <a:cxnSpLocks/>
          </p:cNvCxnSpPr>
          <p:nvPr/>
        </p:nvCxnSpPr>
        <p:spPr>
          <a:xfrm flipH="1" flipV="1">
            <a:off x="5372100" y="3446903"/>
            <a:ext cx="852855" cy="1"/>
          </a:xfrm>
          <a:prstGeom prst="straightConnector1">
            <a:avLst/>
          </a:prstGeom>
          <a:ln w="28575">
            <a:solidFill>
              <a:srgbClr val="00B0F0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964784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114B54B-57AF-4A51-9BCD-23915B03724E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“I have already collated/validated/processed </a:t>
            </a:r>
            <a:r>
              <a:rPr lang="en-GB" sz="1800" i="1" dirty="0">
                <a:solidFill>
                  <a:schemeClr val="bg1">
                    <a:lumMod val="75000"/>
                  </a:schemeClr>
                </a:solidFill>
              </a:rPr>
              <a:t>this information </a:t>
            </a:r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about </a:t>
            </a:r>
            <a:r>
              <a:rPr lang="en-GB" sz="1800" i="1" dirty="0">
                <a:solidFill>
                  <a:schemeClr val="bg1">
                    <a:lumMod val="75000"/>
                  </a:schemeClr>
                </a:solidFill>
              </a:rPr>
              <a:t>this thing</a:t>
            </a:r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”</a:t>
            </a:r>
          </a:p>
          <a:p>
            <a:pPr marL="0" indent="0">
              <a:buNone/>
            </a:pPr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Or</a:t>
            </a:r>
          </a:p>
          <a:p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“I am in a position to collate/validate/process </a:t>
            </a:r>
            <a:r>
              <a:rPr lang="en-GB" sz="1800" i="1" dirty="0">
                <a:solidFill>
                  <a:schemeClr val="bg1">
                    <a:lumMod val="75000"/>
                  </a:schemeClr>
                </a:solidFill>
              </a:rPr>
              <a:t>this information </a:t>
            </a:r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about </a:t>
            </a:r>
            <a:r>
              <a:rPr lang="en-GB" sz="1800" i="1" dirty="0">
                <a:solidFill>
                  <a:schemeClr val="bg1">
                    <a:lumMod val="75000"/>
                  </a:schemeClr>
                </a:solidFill>
              </a:rPr>
              <a:t>this</a:t>
            </a:r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en-GB" sz="1800" i="1" dirty="0">
                <a:solidFill>
                  <a:schemeClr val="bg1">
                    <a:lumMod val="75000"/>
                  </a:schemeClr>
                </a:solidFill>
              </a:rPr>
              <a:t>thing</a:t>
            </a:r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”</a:t>
            </a:r>
          </a:p>
          <a:p>
            <a:pPr marL="0" indent="0">
              <a:buNone/>
            </a:pPr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And</a:t>
            </a:r>
          </a:p>
          <a:p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“Here is what I mean by collate/validate/process”</a:t>
            </a:r>
          </a:p>
          <a:p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“Here is what I mean by </a:t>
            </a:r>
            <a:r>
              <a:rPr lang="en-GB" sz="1800" i="1" dirty="0">
                <a:solidFill>
                  <a:schemeClr val="bg1">
                    <a:lumMod val="75000"/>
                  </a:schemeClr>
                </a:solidFill>
              </a:rPr>
              <a:t>this information</a:t>
            </a:r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”</a:t>
            </a:r>
          </a:p>
          <a:p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“Here is what I mean by </a:t>
            </a:r>
            <a:r>
              <a:rPr lang="en-GB" sz="1800" i="1" dirty="0">
                <a:solidFill>
                  <a:schemeClr val="bg1">
                    <a:lumMod val="75000"/>
                  </a:schemeClr>
                </a:solidFill>
              </a:rPr>
              <a:t>this thing</a:t>
            </a:r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”</a:t>
            </a:r>
          </a:p>
          <a:p>
            <a:pPr marL="0" indent="0">
              <a:buNone/>
            </a:pPr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And</a:t>
            </a:r>
          </a:p>
          <a:p>
            <a:r>
              <a:rPr lang="en-GB" sz="1800" dirty="0"/>
              <a:t>“This is what you need to do to acquire the attributes that authorise you to read/write/append/control </a:t>
            </a:r>
            <a:r>
              <a:rPr lang="en-GB" sz="1800" i="1" dirty="0"/>
              <a:t>this information </a:t>
            </a:r>
            <a:r>
              <a:rPr lang="en-GB" sz="1800" dirty="0"/>
              <a:t>about </a:t>
            </a:r>
            <a:r>
              <a:rPr lang="en-GB" sz="1800" i="1" dirty="0"/>
              <a:t>this thing</a:t>
            </a:r>
            <a:r>
              <a:rPr lang="en-GB" sz="1800" dirty="0"/>
              <a:t>”</a:t>
            </a:r>
          </a:p>
          <a:p>
            <a:r>
              <a:rPr lang="en-GB" sz="1800" dirty="0"/>
              <a:t>“This is what I mean by read/write/append/control – i.e. terms of authorised access”</a:t>
            </a:r>
          </a:p>
          <a:p>
            <a:pPr marL="0" indent="0">
              <a:buNone/>
            </a:pPr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And</a:t>
            </a:r>
          </a:p>
          <a:p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“Here is how we agree to track what happens next”</a:t>
            </a:r>
          </a:p>
          <a:p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“Here is what happens if you breach the terms of authorised access”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1B456FE-C283-46EA-9E07-B43484EA51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b="1" dirty="0"/>
              <a:t>As an ecosystem, we will…:</a:t>
            </a:r>
            <a:br>
              <a:rPr lang="en-GB" sz="2400" b="1" dirty="0"/>
            </a:br>
            <a:r>
              <a:rPr lang="en-GB" sz="2400" dirty="0"/>
              <a:t>Express key concepts in a consistent, machine readable way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C6C7BFB-7BCF-40B5-AD68-45BAF6F10190}"/>
              </a:ext>
            </a:extLst>
          </p:cNvPr>
          <p:cNvGrpSpPr/>
          <p:nvPr/>
        </p:nvGrpSpPr>
        <p:grpSpPr>
          <a:xfrm>
            <a:off x="6224954" y="3049524"/>
            <a:ext cx="2101361" cy="758952"/>
            <a:chOff x="6198577" y="2892669"/>
            <a:chExt cx="2101361" cy="758952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2B473112-AB31-4EBE-8AD1-48E60091FDE3}"/>
                </a:ext>
              </a:extLst>
            </p:cNvPr>
            <p:cNvSpPr/>
            <p:nvPr/>
          </p:nvSpPr>
          <p:spPr>
            <a:xfrm>
              <a:off x="6198577" y="2892669"/>
              <a:ext cx="2101361" cy="758952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dirty="0">
                <a:solidFill>
                  <a:schemeClr val="tx1"/>
                </a:solidFill>
              </a:endParaRP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2711023-C38C-44AC-AE17-5E0E41C64513}"/>
                </a:ext>
              </a:extLst>
            </p:cNvPr>
            <p:cNvSpPr txBox="1"/>
            <p:nvPr/>
          </p:nvSpPr>
          <p:spPr>
            <a:xfrm>
              <a:off x="6606922" y="3028438"/>
              <a:ext cx="1284669" cy="52322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b="1" dirty="0">
                  <a:solidFill>
                    <a:srgbClr val="00B0F0"/>
                  </a:solidFill>
                </a:rPr>
                <a:t>Ontology </a:t>
              </a:r>
              <a:r>
                <a:rPr lang="en-GB" sz="1600" b="1" dirty="0">
                  <a:solidFill>
                    <a:srgbClr val="00B0F0"/>
                  </a:solidFill>
                </a:rPr>
                <a:t>(instructive)</a:t>
              </a:r>
            </a:p>
          </p:txBody>
        </p:sp>
      </p:grp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DA109F29-25C3-430E-B5C1-B39D88E1D2F2}"/>
              </a:ext>
            </a:extLst>
          </p:cNvPr>
          <p:cNvCxnSpPr>
            <a:cxnSpLocks/>
            <a:stCxn id="5" idx="1"/>
          </p:cNvCxnSpPr>
          <p:nvPr/>
        </p:nvCxnSpPr>
        <p:spPr>
          <a:xfrm flipH="1">
            <a:off x="5029200" y="3429000"/>
            <a:ext cx="1195754" cy="685800"/>
          </a:xfrm>
          <a:prstGeom prst="straightConnector1">
            <a:avLst/>
          </a:prstGeom>
          <a:ln w="28575">
            <a:solidFill>
              <a:srgbClr val="00B0F0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012707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114B54B-57AF-4A51-9BCD-23915B03724E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“I have already collated/validated/processed </a:t>
            </a:r>
            <a:r>
              <a:rPr lang="en-GB" sz="1800" i="1" dirty="0">
                <a:solidFill>
                  <a:schemeClr val="bg1">
                    <a:lumMod val="75000"/>
                  </a:schemeClr>
                </a:solidFill>
              </a:rPr>
              <a:t>this information </a:t>
            </a:r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about </a:t>
            </a:r>
            <a:r>
              <a:rPr lang="en-GB" sz="1800" i="1" dirty="0">
                <a:solidFill>
                  <a:schemeClr val="bg1">
                    <a:lumMod val="75000"/>
                  </a:schemeClr>
                </a:solidFill>
              </a:rPr>
              <a:t>this thing</a:t>
            </a:r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”</a:t>
            </a:r>
          </a:p>
          <a:p>
            <a:pPr marL="0" indent="0">
              <a:buNone/>
            </a:pPr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Or</a:t>
            </a:r>
          </a:p>
          <a:p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“I am in a position to collate/validate/process </a:t>
            </a:r>
            <a:r>
              <a:rPr lang="en-GB" sz="1800" i="1" dirty="0">
                <a:solidFill>
                  <a:schemeClr val="bg1">
                    <a:lumMod val="75000"/>
                  </a:schemeClr>
                </a:solidFill>
              </a:rPr>
              <a:t>this information </a:t>
            </a:r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about </a:t>
            </a:r>
            <a:r>
              <a:rPr lang="en-GB" sz="1800" i="1" dirty="0">
                <a:solidFill>
                  <a:schemeClr val="bg1">
                    <a:lumMod val="75000"/>
                  </a:schemeClr>
                </a:solidFill>
              </a:rPr>
              <a:t>this</a:t>
            </a:r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en-GB" sz="1800" i="1" dirty="0">
                <a:solidFill>
                  <a:schemeClr val="bg1">
                    <a:lumMod val="75000"/>
                  </a:schemeClr>
                </a:solidFill>
              </a:rPr>
              <a:t>thing</a:t>
            </a:r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”</a:t>
            </a:r>
          </a:p>
          <a:p>
            <a:pPr marL="0" indent="0">
              <a:buNone/>
            </a:pPr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And</a:t>
            </a:r>
          </a:p>
          <a:p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“Here is what I mean by collate/validate/process”</a:t>
            </a:r>
          </a:p>
          <a:p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“Here is what I mean by </a:t>
            </a:r>
            <a:r>
              <a:rPr lang="en-GB" sz="1800" i="1" dirty="0">
                <a:solidFill>
                  <a:schemeClr val="bg1">
                    <a:lumMod val="75000"/>
                  </a:schemeClr>
                </a:solidFill>
              </a:rPr>
              <a:t>this information</a:t>
            </a:r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”</a:t>
            </a:r>
          </a:p>
          <a:p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“Here is what I mean by </a:t>
            </a:r>
            <a:r>
              <a:rPr lang="en-GB" sz="1800" i="1" dirty="0">
                <a:solidFill>
                  <a:schemeClr val="bg1">
                    <a:lumMod val="75000"/>
                  </a:schemeClr>
                </a:solidFill>
              </a:rPr>
              <a:t>this thing</a:t>
            </a:r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”</a:t>
            </a:r>
          </a:p>
          <a:p>
            <a:pPr marL="0" indent="0">
              <a:buNone/>
            </a:pPr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And</a:t>
            </a:r>
          </a:p>
          <a:p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“This is what you need to do to acquire the attributes that authorise you to read/write/append/control </a:t>
            </a:r>
            <a:r>
              <a:rPr lang="en-GB" sz="1800" i="1" dirty="0">
                <a:solidFill>
                  <a:schemeClr val="bg1">
                    <a:lumMod val="75000"/>
                  </a:schemeClr>
                </a:solidFill>
              </a:rPr>
              <a:t>this information </a:t>
            </a:r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about </a:t>
            </a:r>
            <a:r>
              <a:rPr lang="en-GB" sz="1800" i="1" dirty="0">
                <a:solidFill>
                  <a:schemeClr val="bg1">
                    <a:lumMod val="75000"/>
                  </a:schemeClr>
                </a:solidFill>
              </a:rPr>
              <a:t>this thing</a:t>
            </a:r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”</a:t>
            </a:r>
          </a:p>
          <a:p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“This is what I mean by read/write/append/control – i.e. terms of authorised access”</a:t>
            </a:r>
          </a:p>
          <a:p>
            <a:pPr marL="0" indent="0">
              <a:buNone/>
            </a:pPr>
            <a:r>
              <a:rPr lang="en-GB" sz="1800" dirty="0">
                <a:solidFill>
                  <a:schemeClr val="bg1">
                    <a:lumMod val="75000"/>
                  </a:schemeClr>
                </a:solidFill>
              </a:rPr>
              <a:t>And</a:t>
            </a:r>
          </a:p>
          <a:p>
            <a:r>
              <a:rPr lang="en-GB" sz="1800" dirty="0"/>
              <a:t>“Here is how we agree to track what happens next”</a:t>
            </a:r>
          </a:p>
          <a:p>
            <a:r>
              <a:rPr lang="en-GB" sz="1800" dirty="0"/>
              <a:t>“Here is what happens if you breach the terms of authorised access”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1B456FE-C283-46EA-9E07-B43484EA51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b="1" dirty="0"/>
              <a:t>As an ecosystem, we will…:</a:t>
            </a:r>
            <a:br>
              <a:rPr lang="en-GB" sz="2400" b="1" dirty="0"/>
            </a:br>
            <a:r>
              <a:rPr lang="en-GB" sz="2400" dirty="0"/>
              <a:t>Express key concepts in a consistent, machine readable way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C6C7BFB-7BCF-40B5-AD68-45BAF6F10190}"/>
              </a:ext>
            </a:extLst>
          </p:cNvPr>
          <p:cNvGrpSpPr/>
          <p:nvPr/>
        </p:nvGrpSpPr>
        <p:grpSpPr>
          <a:xfrm>
            <a:off x="6224954" y="3049524"/>
            <a:ext cx="2101361" cy="758952"/>
            <a:chOff x="6198577" y="2892669"/>
            <a:chExt cx="2101361" cy="758952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2B473112-AB31-4EBE-8AD1-48E60091FDE3}"/>
                </a:ext>
              </a:extLst>
            </p:cNvPr>
            <p:cNvSpPr/>
            <p:nvPr/>
          </p:nvSpPr>
          <p:spPr>
            <a:xfrm>
              <a:off x="6198577" y="2892669"/>
              <a:ext cx="2101361" cy="758952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dirty="0">
                <a:solidFill>
                  <a:schemeClr val="tx1"/>
                </a:solidFill>
              </a:endParaRP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2711023-C38C-44AC-AE17-5E0E41C64513}"/>
                </a:ext>
              </a:extLst>
            </p:cNvPr>
            <p:cNvSpPr txBox="1"/>
            <p:nvPr/>
          </p:nvSpPr>
          <p:spPr>
            <a:xfrm>
              <a:off x="6469668" y="2995146"/>
              <a:ext cx="1559178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b="1" dirty="0">
                  <a:solidFill>
                    <a:srgbClr val="00B0F0"/>
                  </a:solidFill>
                </a:rPr>
                <a:t>Rules of Engagement?</a:t>
              </a:r>
              <a:endParaRPr lang="en-GB" sz="1600" b="1" dirty="0">
                <a:solidFill>
                  <a:srgbClr val="00B0F0"/>
                </a:solidFill>
              </a:endParaRPr>
            </a:p>
          </p:txBody>
        </p:sp>
      </p:grp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DA109F29-25C3-430E-B5C1-B39D88E1D2F2}"/>
              </a:ext>
            </a:extLst>
          </p:cNvPr>
          <p:cNvCxnSpPr>
            <a:cxnSpLocks/>
            <a:stCxn id="5" idx="2"/>
          </p:cNvCxnSpPr>
          <p:nvPr/>
        </p:nvCxnSpPr>
        <p:spPr>
          <a:xfrm flipH="1">
            <a:off x="4950071" y="3808476"/>
            <a:ext cx="2325564" cy="1739470"/>
          </a:xfrm>
          <a:prstGeom prst="straightConnector1">
            <a:avLst/>
          </a:prstGeom>
          <a:ln w="28575">
            <a:solidFill>
              <a:srgbClr val="00B0F0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31309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FE95407-D9F4-41BC-AA1C-483D338D12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b="1" dirty="0"/>
              <a:t>As an ecosystem, we will…:</a:t>
            </a:r>
            <a:br>
              <a:rPr lang="en-GB" sz="2400" b="1" dirty="0"/>
            </a:br>
            <a:r>
              <a:rPr lang="en-GB" sz="2400" dirty="0"/>
              <a:t>Use a consistent syntax; treat all Events as logically the same</a:t>
            </a:r>
          </a:p>
        </p:txBody>
      </p:sp>
      <p:sp>
        <p:nvSpPr>
          <p:cNvPr id="4" name="Content Placeholder 7">
            <a:extLst>
              <a:ext uri="{FF2B5EF4-FFF2-40B4-BE49-F238E27FC236}">
                <a16:creationId xmlns:a16="http://schemas.microsoft.com/office/drawing/2014/main" id="{A63C9BAD-A486-4F9E-B17D-CF3E50071AE4}"/>
              </a:ext>
            </a:extLst>
          </p:cNvPr>
          <p:cNvSpPr txBox="1">
            <a:spLocks/>
          </p:cNvSpPr>
          <p:nvPr/>
        </p:nvSpPr>
        <p:spPr>
          <a:xfrm>
            <a:off x="293270" y="2005330"/>
            <a:ext cx="2151931" cy="3657284"/>
          </a:xfrm>
          <a:prstGeom prst="rect">
            <a:avLst/>
          </a:prstGeom>
        </p:spPr>
        <p:txBody>
          <a:bodyPr anchor="ctr"/>
          <a:lstStyle>
            <a:lvl1pPr marL="182880" indent="-18288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49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237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11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899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187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475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8488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indent="-180000">
              <a:spcBef>
                <a:spcPts val="1000"/>
              </a:spcBef>
              <a:buClr>
                <a:schemeClr val="accent1"/>
              </a:buClr>
              <a:buSzPct val="90000"/>
              <a:buFont typeface="Wingdings" panose="05000000000000000000" pitchFamily="2" charset="2"/>
              <a:buChar char="u"/>
            </a:pPr>
            <a:r>
              <a:rPr lang="en-GB" sz="1100" kern="1200" dirty="0"/>
              <a:t>Bank employee</a:t>
            </a:r>
          </a:p>
          <a:p>
            <a:pPr lvl="1"/>
            <a:r>
              <a:rPr lang="en-GB" sz="1100" dirty="0"/>
              <a:t>Manager</a:t>
            </a:r>
          </a:p>
          <a:p>
            <a:pPr lvl="1"/>
            <a:r>
              <a:rPr lang="en-GB" sz="1100" dirty="0"/>
              <a:t>Supervisor</a:t>
            </a:r>
          </a:p>
          <a:p>
            <a:pPr lvl="1"/>
            <a:r>
              <a:rPr lang="en-GB" sz="1100" dirty="0"/>
              <a:t>Advisor</a:t>
            </a:r>
          </a:p>
          <a:p>
            <a:pPr lvl="1"/>
            <a:r>
              <a:rPr lang="en-GB" sz="1100" dirty="0"/>
              <a:t>Trainee</a:t>
            </a:r>
          </a:p>
          <a:p>
            <a:pPr marL="180000" indent="-180000">
              <a:spcBef>
                <a:spcPts val="1000"/>
              </a:spcBef>
              <a:buClr>
                <a:schemeClr val="accent1"/>
              </a:buClr>
              <a:buSzPct val="90000"/>
              <a:buFont typeface="Wingdings" panose="05000000000000000000" pitchFamily="2" charset="2"/>
              <a:buChar char="u"/>
            </a:pPr>
            <a:r>
              <a:rPr lang="en-GB" sz="1100" kern="1200" dirty="0"/>
              <a:t>Third party</a:t>
            </a:r>
          </a:p>
          <a:p>
            <a:pPr lvl="1"/>
            <a:r>
              <a:rPr lang="en-GB" sz="1100" dirty="0"/>
              <a:t>Agent</a:t>
            </a:r>
          </a:p>
          <a:p>
            <a:pPr lvl="1"/>
            <a:r>
              <a:rPr lang="en-GB" sz="1100" dirty="0"/>
              <a:t>Lawyer</a:t>
            </a:r>
          </a:p>
          <a:p>
            <a:pPr lvl="1"/>
            <a:r>
              <a:rPr lang="en-GB" sz="1100" dirty="0"/>
              <a:t>Accountant</a:t>
            </a:r>
          </a:p>
          <a:p>
            <a:pPr lvl="1"/>
            <a:r>
              <a:rPr lang="en-GB" sz="1100" dirty="0"/>
              <a:t>Doctor</a:t>
            </a:r>
          </a:p>
        </p:txBody>
      </p:sp>
      <p:sp>
        <p:nvSpPr>
          <p:cNvPr id="5" name="Content Placeholder 8">
            <a:extLst>
              <a:ext uri="{FF2B5EF4-FFF2-40B4-BE49-F238E27FC236}">
                <a16:creationId xmlns:a16="http://schemas.microsoft.com/office/drawing/2014/main" id="{7F13DC11-8E6C-4BF8-8B47-FCE3CB04C330}"/>
              </a:ext>
            </a:extLst>
          </p:cNvPr>
          <p:cNvSpPr txBox="1">
            <a:spLocks/>
          </p:cNvSpPr>
          <p:nvPr/>
        </p:nvSpPr>
        <p:spPr>
          <a:xfrm>
            <a:off x="5739277" y="2005330"/>
            <a:ext cx="2151931" cy="3657284"/>
          </a:xfrm>
          <a:prstGeom prst="rect">
            <a:avLst/>
          </a:prstGeom>
        </p:spPr>
        <p:txBody>
          <a:bodyPr anchor="ctr"/>
          <a:lstStyle>
            <a:lvl1pPr marL="182880" indent="-18288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49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237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11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899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187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475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8488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indent="-180000">
              <a:spcBef>
                <a:spcPts val="1000"/>
              </a:spcBef>
              <a:buClr>
                <a:schemeClr val="accent1"/>
              </a:buClr>
              <a:buSzPct val="90000"/>
              <a:buFont typeface="Wingdings" panose="05000000000000000000" pitchFamily="2" charset="2"/>
              <a:buChar char="u"/>
            </a:pPr>
            <a:r>
              <a:rPr lang="en-GB" sz="1100" kern="1200" dirty="0" err="1"/>
              <a:t>claimsToHave</a:t>
            </a:r>
            <a:endParaRPr lang="en-GB" sz="1100" kern="1200" dirty="0"/>
          </a:p>
          <a:p>
            <a:pPr marL="180000" indent="-180000">
              <a:spcBef>
                <a:spcPts val="1000"/>
              </a:spcBef>
              <a:buClr>
                <a:schemeClr val="accent1"/>
              </a:buClr>
              <a:buSzPct val="90000"/>
              <a:buFont typeface="Wingdings" panose="05000000000000000000" pitchFamily="2" charset="2"/>
              <a:buChar char="u"/>
            </a:pPr>
            <a:r>
              <a:rPr lang="en-GB" sz="1100" kern="1200" dirty="0" err="1"/>
              <a:t>isInPossessionOf</a:t>
            </a:r>
            <a:endParaRPr lang="en-GB" sz="1100" kern="1200" dirty="0"/>
          </a:p>
          <a:p>
            <a:pPr marL="180000" indent="-180000">
              <a:spcBef>
                <a:spcPts val="1000"/>
              </a:spcBef>
              <a:buClr>
                <a:schemeClr val="accent1"/>
              </a:buClr>
              <a:buSzPct val="90000"/>
              <a:buFont typeface="Wingdings" panose="05000000000000000000" pitchFamily="2" charset="2"/>
              <a:buChar char="u"/>
            </a:pPr>
            <a:r>
              <a:rPr lang="en-GB" sz="1100" kern="1200" dirty="0" err="1"/>
              <a:t>isTheOwnerOf</a:t>
            </a:r>
            <a:endParaRPr lang="en-GB" sz="1100" kern="1200" dirty="0"/>
          </a:p>
        </p:txBody>
      </p:sp>
      <p:sp>
        <p:nvSpPr>
          <p:cNvPr id="6" name="Content Placeholder 9">
            <a:extLst>
              <a:ext uri="{FF2B5EF4-FFF2-40B4-BE49-F238E27FC236}">
                <a16:creationId xmlns:a16="http://schemas.microsoft.com/office/drawing/2014/main" id="{E72326E2-1000-4A51-BCB6-4DF4FA9CA394}"/>
              </a:ext>
            </a:extLst>
          </p:cNvPr>
          <p:cNvSpPr txBox="1">
            <a:spLocks/>
          </p:cNvSpPr>
          <p:nvPr/>
        </p:nvSpPr>
        <p:spPr>
          <a:xfrm>
            <a:off x="7324148" y="2005330"/>
            <a:ext cx="2151931" cy="3657284"/>
          </a:xfrm>
          <a:prstGeom prst="rect">
            <a:avLst/>
          </a:prstGeom>
        </p:spPr>
        <p:txBody>
          <a:bodyPr anchor="ctr"/>
          <a:lstStyle>
            <a:lvl1pPr marL="182880" indent="-18288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49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237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11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899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187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475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8488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indent="-180000">
              <a:spcBef>
                <a:spcPts val="1000"/>
              </a:spcBef>
              <a:buClr>
                <a:schemeClr val="accent1"/>
              </a:buClr>
              <a:buSzPct val="90000"/>
              <a:buFont typeface="Wingdings" panose="05000000000000000000" pitchFamily="2" charset="2"/>
              <a:buChar char="u"/>
            </a:pPr>
            <a:r>
              <a:rPr lang="en-GB" sz="1100" kern="1200" dirty="0"/>
              <a:t>UK Passport</a:t>
            </a:r>
          </a:p>
          <a:p>
            <a:pPr marL="180000" indent="-180000">
              <a:spcBef>
                <a:spcPts val="1000"/>
              </a:spcBef>
              <a:buClr>
                <a:schemeClr val="accent1"/>
              </a:buClr>
              <a:buSzPct val="90000"/>
              <a:buFont typeface="Wingdings" panose="05000000000000000000" pitchFamily="2" charset="2"/>
              <a:buChar char="u"/>
            </a:pPr>
            <a:r>
              <a:rPr lang="en-GB" sz="1100" kern="1200" dirty="0"/>
              <a:t>UK / EU Driver’s Licence</a:t>
            </a:r>
          </a:p>
          <a:p>
            <a:pPr marL="180000" indent="-180000">
              <a:spcBef>
                <a:spcPts val="1000"/>
              </a:spcBef>
              <a:buClr>
                <a:schemeClr val="accent1"/>
              </a:buClr>
              <a:buSzPct val="90000"/>
              <a:buFont typeface="Wingdings" panose="05000000000000000000" pitchFamily="2" charset="2"/>
              <a:buChar char="u"/>
            </a:pPr>
            <a:r>
              <a:rPr lang="en-GB" sz="1100" kern="1200" dirty="0"/>
              <a:t>EU National ID Card</a:t>
            </a:r>
          </a:p>
          <a:p>
            <a:pPr marL="180000" indent="-180000">
              <a:spcBef>
                <a:spcPts val="1000"/>
              </a:spcBef>
              <a:buClr>
                <a:schemeClr val="accent1"/>
              </a:buClr>
              <a:buSzPct val="90000"/>
              <a:buFont typeface="Wingdings" panose="05000000000000000000" pitchFamily="2" charset="2"/>
              <a:buChar char="u"/>
            </a:pPr>
            <a:r>
              <a:rPr lang="en-GB" sz="1100" kern="1200" dirty="0"/>
              <a:t>Student Union Card</a:t>
            </a:r>
          </a:p>
          <a:p>
            <a:pPr marL="180000" indent="-180000">
              <a:spcBef>
                <a:spcPts val="1000"/>
              </a:spcBef>
              <a:buClr>
                <a:schemeClr val="accent1"/>
              </a:buClr>
              <a:buSzPct val="90000"/>
              <a:buFont typeface="Wingdings" panose="05000000000000000000" pitchFamily="2" charset="2"/>
              <a:buChar char="u"/>
            </a:pPr>
            <a:r>
              <a:rPr lang="en-GB" sz="1100" kern="1200" dirty="0"/>
              <a:t>Employee Pass</a:t>
            </a:r>
          </a:p>
          <a:p>
            <a:pPr marL="180000" indent="-180000">
              <a:spcBef>
                <a:spcPts val="1000"/>
              </a:spcBef>
              <a:buClr>
                <a:schemeClr val="accent1"/>
              </a:buClr>
              <a:buSzPct val="90000"/>
              <a:buFont typeface="Wingdings" panose="05000000000000000000" pitchFamily="2" charset="2"/>
              <a:buChar char="u"/>
            </a:pPr>
            <a:r>
              <a:rPr lang="en-GB" sz="1100" kern="1200" dirty="0"/>
              <a:t>Rail Photocard</a:t>
            </a:r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55FA1439-36A7-49BD-8933-8D70EC80F5A4}"/>
              </a:ext>
            </a:extLst>
          </p:cNvPr>
          <p:cNvSpPr txBox="1">
            <a:spLocks/>
          </p:cNvSpPr>
          <p:nvPr/>
        </p:nvSpPr>
        <p:spPr>
          <a:xfrm>
            <a:off x="3730408" y="2005330"/>
            <a:ext cx="930944" cy="365728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90000"/>
              <a:buFont typeface="Wingdings" panose="05000000000000000000" pitchFamily="2" charset="2"/>
              <a:buChar char="u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138" indent="-3587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Wingdings 2" panose="05020102010507070707" pitchFamily="18" charset="2"/>
              <a:buChar char="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4738" indent="-3587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Helvetica Neue for HSBC Lt" panose="020B0404020202020204" pitchFamily="34" charset="0"/>
              <a:buChar char="–"/>
              <a:tabLst>
                <a:tab pos="355600" algn="l"/>
                <a:tab pos="1163638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8275" indent="-3587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Helvetica Neue for HSBC Lt" panose="020B0404020202020204" pitchFamily="34" charset="0"/>
              <a:buChar char="‐"/>
              <a:tabLst>
                <a:tab pos="88900" algn="l"/>
                <a:tab pos="1339850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3875" indent="-3587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Helvetica Neue for HSBC Lt" panose="020B0404020202020204" pitchFamily="34" charset="0"/>
              <a:buChar char="‐"/>
              <a:tabLst>
                <a:tab pos="18827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00" dirty="0"/>
              <a:t>To assert that</a:t>
            </a:r>
          </a:p>
        </p:txBody>
      </p:sp>
      <p:sp>
        <p:nvSpPr>
          <p:cNvPr id="8" name="Right Bracket 7">
            <a:extLst>
              <a:ext uri="{FF2B5EF4-FFF2-40B4-BE49-F238E27FC236}">
                <a16:creationId xmlns:a16="http://schemas.microsoft.com/office/drawing/2014/main" id="{45374714-9B09-408B-BD95-99BB7DAD3C33}"/>
              </a:ext>
            </a:extLst>
          </p:cNvPr>
          <p:cNvSpPr/>
          <p:nvPr/>
        </p:nvSpPr>
        <p:spPr>
          <a:xfrm>
            <a:off x="1459145" y="2305050"/>
            <a:ext cx="190500" cy="3038475"/>
          </a:xfrm>
          <a:prstGeom prst="righ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9" name="Right Bracket 8">
            <a:extLst>
              <a:ext uri="{FF2B5EF4-FFF2-40B4-BE49-F238E27FC236}">
                <a16:creationId xmlns:a16="http://schemas.microsoft.com/office/drawing/2014/main" id="{E9802C9F-F7C3-4902-A105-EEB34B562C30}"/>
              </a:ext>
            </a:extLst>
          </p:cNvPr>
          <p:cNvSpPr/>
          <p:nvPr/>
        </p:nvSpPr>
        <p:spPr>
          <a:xfrm flipH="1">
            <a:off x="277269" y="2305050"/>
            <a:ext cx="190500" cy="3038475"/>
          </a:xfrm>
          <a:prstGeom prst="righ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10" name="Right Bracket 9">
            <a:extLst>
              <a:ext uri="{FF2B5EF4-FFF2-40B4-BE49-F238E27FC236}">
                <a16:creationId xmlns:a16="http://schemas.microsoft.com/office/drawing/2014/main" id="{58C2485E-E1CE-4203-958D-BDDE54D0E267}"/>
              </a:ext>
            </a:extLst>
          </p:cNvPr>
          <p:cNvSpPr/>
          <p:nvPr/>
        </p:nvSpPr>
        <p:spPr>
          <a:xfrm>
            <a:off x="6946720" y="3190875"/>
            <a:ext cx="220489" cy="1304926"/>
          </a:xfrm>
          <a:prstGeom prst="righ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11" name="Right Bracket 10">
            <a:extLst>
              <a:ext uri="{FF2B5EF4-FFF2-40B4-BE49-F238E27FC236}">
                <a16:creationId xmlns:a16="http://schemas.microsoft.com/office/drawing/2014/main" id="{5E13BECC-8D3F-451A-B363-746076DA7ED9}"/>
              </a:ext>
            </a:extLst>
          </p:cNvPr>
          <p:cNvSpPr/>
          <p:nvPr/>
        </p:nvSpPr>
        <p:spPr>
          <a:xfrm flipH="1">
            <a:off x="5713143" y="3190875"/>
            <a:ext cx="220489" cy="1304926"/>
          </a:xfrm>
          <a:prstGeom prst="righ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12" name="Right Bracket 11">
            <a:extLst>
              <a:ext uri="{FF2B5EF4-FFF2-40B4-BE49-F238E27FC236}">
                <a16:creationId xmlns:a16="http://schemas.microsoft.com/office/drawing/2014/main" id="{34F62737-B2EE-4A9E-9542-0E7BEC639AE0}"/>
              </a:ext>
            </a:extLst>
          </p:cNvPr>
          <p:cNvSpPr/>
          <p:nvPr/>
        </p:nvSpPr>
        <p:spPr>
          <a:xfrm>
            <a:off x="9049777" y="2781301"/>
            <a:ext cx="215204" cy="2133600"/>
          </a:xfrm>
          <a:prstGeom prst="righ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13" name="Right Bracket 12">
            <a:extLst>
              <a:ext uri="{FF2B5EF4-FFF2-40B4-BE49-F238E27FC236}">
                <a16:creationId xmlns:a16="http://schemas.microsoft.com/office/drawing/2014/main" id="{1CCA04BC-3D36-480A-A01B-9B7C5DCFDF5B}"/>
              </a:ext>
            </a:extLst>
          </p:cNvPr>
          <p:cNvSpPr/>
          <p:nvPr/>
        </p:nvSpPr>
        <p:spPr>
          <a:xfrm flipH="1">
            <a:off x="7305475" y="2781301"/>
            <a:ext cx="215204" cy="2133600"/>
          </a:xfrm>
          <a:prstGeom prst="righ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02148177-AE17-40F4-894A-9CBA8926FBD9}"/>
              </a:ext>
            </a:extLst>
          </p:cNvPr>
          <p:cNvSpPr txBox="1">
            <a:spLocks/>
          </p:cNvSpPr>
          <p:nvPr/>
        </p:nvSpPr>
        <p:spPr>
          <a:xfrm>
            <a:off x="2250136" y="2005330"/>
            <a:ext cx="2151931" cy="365728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90000"/>
              <a:buFont typeface="Wingdings" panose="05000000000000000000" pitchFamily="2" charset="2"/>
              <a:buChar char="u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138" indent="-3587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Wingdings 2" panose="05020102010507070707" pitchFamily="18" charset="2"/>
              <a:buChar char="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4738" indent="-3587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Helvetica Neue for HSBC Lt" panose="020B0404020202020204" pitchFamily="34" charset="0"/>
              <a:buChar char="–"/>
              <a:tabLst>
                <a:tab pos="355600" algn="l"/>
                <a:tab pos="1163638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8275" indent="-3587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Helvetica Neue for HSBC Lt" panose="020B0404020202020204" pitchFamily="34" charset="0"/>
              <a:buChar char="‐"/>
              <a:tabLst>
                <a:tab pos="88900" algn="l"/>
                <a:tab pos="1339850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3875" indent="-3587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Helvetica Neue for HSBC Lt" panose="020B0404020202020204" pitchFamily="34" charset="0"/>
              <a:buChar char="‐"/>
              <a:tabLst>
                <a:tab pos="18827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indent="-180000"/>
            <a:r>
              <a:rPr lang="en-GB" sz="1100" dirty="0"/>
              <a:t>Web-browser app</a:t>
            </a:r>
          </a:p>
          <a:p>
            <a:pPr marL="180000" indent="-180000"/>
            <a:r>
              <a:rPr lang="en-GB" sz="1100" dirty="0"/>
              <a:t>In branch system</a:t>
            </a:r>
          </a:p>
          <a:p>
            <a:pPr marL="180000" indent="-180000"/>
            <a:r>
              <a:rPr lang="en-GB" sz="1100" dirty="0"/>
              <a:t>Paper and pen</a:t>
            </a:r>
          </a:p>
        </p:txBody>
      </p:sp>
      <p:sp>
        <p:nvSpPr>
          <p:cNvPr id="15" name="Right Bracket 14">
            <a:extLst>
              <a:ext uri="{FF2B5EF4-FFF2-40B4-BE49-F238E27FC236}">
                <a16:creationId xmlns:a16="http://schemas.microsoft.com/office/drawing/2014/main" id="{9AE6AE32-26F3-427F-B786-C1846F298491}"/>
              </a:ext>
            </a:extLst>
          </p:cNvPr>
          <p:cNvSpPr/>
          <p:nvPr/>
        </p:nvSpPr>
        <p:spPr>
          <a:xfrm>
            <a:off x="3440984" y="3167865"/>
            <a:ext cx="220489" cy="1304926"/>
          </a:xfrm>
          <a:prstGeom prst="righ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16" name="Right Bracket 15">
            <a:extLst>
              <a:ext uri="{FF2B5EF4-FFF2-40B4-BE49-F238E27FC236}">
                <a16:creationId xmlns:a16="http://schemas.microsoft.com/office/drawing/2014/main" id="{81AB81AD-7B00-48B3-B381-AB3A42616E75}"/>
              </a:ext>
            </a:extLst>
          </p:cNvPr>
          <p:cNvSpPr/>
          <p:nvPr/>
        </p:nvSpPr>
        <p:spPr>
          <a:xfrm flipH="1">
            <a:off x="2156603" y="3167865"/>
            <a:ext cx="220489" cy="1304926"/>
          </a:xfrm>
          <a:prstGeom prst="righ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78DDC241-A474-4BF7-A09F-6044BA934D7E}"/>
              </a:ext>
            </a:extLst>
          </p:cNvPr>
          <p:cNvSpPr txBox="1">
            <a:spLocks/>
          </p:cNvSpPr>
          <p:nvPr/>
        </p:nvSpPr>
        <p:spPr>
          <a:xfrm>
            <a:off x="1739550" y="1991686"/>
            <a:ext cx="1041956" cy="365728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90000"/>
              <a:buFont typeface="Wingdings" panose="05000000000000000000" pitchFamily="2" charset="2"/>
              <a:buChar char="u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138" indent="-3587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Wingdings 2" panose="05020102010507070707" pitchFamily="18" charset="2"/>
              <a:buChar char="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4738" indent="-3587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Helvetica Neue for HSBC Lt" panose="020B0404020202020204" pitchFamily="34" charset="0"/>
              <a:buChar char="–"/>
              <a:tabLst>
                <a:tab pos="355600" algn="l"/>
                <a:tab pos="1163638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8275" indent="-3587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Helvetica Neue for HSBC Lt" panose="020B0404020202020204" pitchFamily="34" charset="0"/>
              <a:buChar char="‐"/>
              <a:tabLst>
                <a:tab pos="88900" algn="l"/>
                <a:tab pos="1339850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3875" indent="-3587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Helvetica Neue for HSBC Lt" panose="020B0404020202020204" pitchFamily="34" charset="0"/>
              <a:buChar char="‐"/>
              <a:tabLst>
                <a:tab pos="18827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00" dirty="0"/>
              <a:t>Used</a:t>
            </a:r>
          </a:p>
        </p:txBody>
      </p:sp>
      <p:sp>
        <p:nvSpPr>
          <p:cNvPr id="18" name="Content Placeholder 8">
            <a:extLst>
              <a:ext uri="{FF2B5EF4-FFF2-40B4-BE49-F238E27FC236}">
                <a16:creationId xmlns:a16="http://schemas.microsoft.com/office/drawing/2014/main" id="{ED545791-9B3D-46E5-B189-9F36955FF4BB}"/>
              </a:ext>
            </a:extLst>
          </p:cNvPr>
          <p:cNvSpPr txBox="1">
            <a:spLocks/>
          </p:cNvSpPr>
          <p:nvPr/>
        </p:nvSpPr>
        <p:spPr>
          <a:xfrm>
            <a:off x="4720052" y="1991686"/>
            <a:ext cx="2151931" cy="365728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90000"/>
              <a:buFont typeface="Wingdings" panose="05000000000000000000" pitchFamily="2" charset="2"/>
              <a:buChar char="u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138" indent="-3587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Wingdings 2" panose="05020102010507070707" pitchFamily="18" charset="2"/>
              <a:buChar char="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4738" indent="-3587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Helvetica Neue for HSBC Lt" panose="020B0404020202020204" pitchFamily="34" charset="0"/>
              <a:buChar char="–"/>
              <a:tabLst>
                <a:tab pos="355600" algn="l"/>
                <a:tab pos="1163638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8275" indent="-3587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Helvetica Neue for HSBC Lt" panose="020B0404020202020204" pitchFamily="34" charset="0"/>
              <a:buChar char="‐"/>
              <a:tabLst>
                <a:tab pos="88900" algn="l"/>
                <a:tab pos="1339850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3875" indent="-3587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90000"/>
              <a:buFont typeface="Helvetica Neue for HSBC Lt" panose="020B0404020202020204" pitchFamily="34" charset="0"/>
              <a:buChar char="‐"/>
              <a:tabLst>
                <a:tab pos="1882775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indent="-180000"/>
            <a:r>
              <a:rPr lang="en-GB" sz="1100" dirty="0"/>
              <a:t>Claimant</a:t>
            </a:r>
          </a:p>
          <a:p>
            <a:pPr marL="180000" indent="-180000"/>
            <a:r>
              <a:rPr lang="en-GB" sz="1100" dirty="0"/>
              <a:t>Customer</a:t>
            </a:r>
          </a:p>
        </p:txBody>
      </p:sp>
      <p:sp>
        <p:nvSpPr>
          <p:cNvPr id="19" name="Right Bracket 18">
            <a:extLst>
              <a:ext uri="{FF2B5EF4-FFF2-40B4-BE49-F238E27FC236}">
                <a16:creationId xmlns:a16="http://schemas.microsoft.com/office/drawing/2014/main" id="{1E25D6DF-9FC9-4909-B9EC-7A1FB6D9923F}"/>
              </a:ext>
            </a:extLst>
          </p:cNvPr>
          <p:cNvSpPr/>
          <p:nvPr/>
        </p:nvSpPr>
        <p:spPr>
          <a:xfrm>
            <a:off x="5399157" y="3192549"/>
            <a:ext cx="220489" cy="1304926"/>
          </a:xfrm>
          <a:prstGeom prst="righ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20" name="Right Bracket 19">
            <a:extLst>
              <a:ext uri="{FF2B5EF4-FFF2-40B4-BE49-F238E27FC236}">
                <a16:creationId xmlns:a16="http://schemas.microsoft.com/office/drawing/2014/main" id="{89554B06-B051-4453-8087-AA20BBDBDADF}"/>
              </a:ext>
            </a:extLst>
          </p:cNvPr>
          <p:cNvSpPr/>
          <p:nvPr/>
        </p:nvSpPr>
        <p:spPr>
          <a:xfrm flipH="1">
            <a:off x="4651805" y="3192549"/>
            <a:ext cx="220489" cy="1304926"/>
          </a:xfrm>
          <a:prstGeom prst="righ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21" name="Speech Bubble: Rectangle 20">
            <a:extLst>
              <a:ext uri="{FF2B5EF4-FFF2-40B4-BE49-F238E27FC236}">
                <a16:creationId xmlns:a16="http://schemas.microsoft.com/office/drawing/2014/main" id="{E183FDB0-3738-4904-A777-84AFA91D4615}"/>
              </a:ext>
            </a:extLst>
          </p:cNvPr>
          <p:cNvSpPr/>
          <p:nvPr/>
        </p:nvSpPr>
        <p:spPr>
          <a:xfrm>
            <a:off x="2576373" y="1393618"/>
            <a:ext cx="2903620" cy="924910"/>
          </a:xfrm>
          <a:prstGeom prst="wedgeRectCallout">
            <a:avLst>
              <a:gd name="adj1" fmla="val -55981"/>
              <a:gd name="adj2" fmla="val 93978"/>
            </a:avLst>
          </a:prstGeom>
          <a:solidFill>
            <a:srgbClr val="06706D"/>
          </a:solidFill>
          <a:ln>
            <a:solidFill>
              <a:srgbClr val="0670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Header</a:t>
            </a:r>
          </a:p>
        </p:txBody>
      </p:sp>
      <p:sp>
        <p:nvSpPr>
          <p:cNvPr id="22" name="Speech Bubble: Rectangle 21">
            <a:extLst>
              <a:ext uri="{FF2B5EF4-FFF2-40B4-BE49-F238E27FC236}">
                <a16:creationId xmlns:a16="http://schemas.microsoft.com/office/drawing/2014/main" id="{A4173106-E22A-43E2-AFE2-CE74C30469C3}"/>
              </a:ext>
            </a:extLst>
          </p:cNvPr>
          <p:cNvSpPr/>
          <p:nvPr/>
        </p:nvSpPr>
        <p:spPr>
          <a:xfrm>
            <a:off x="4066713" y="5352209"/>
            <a:ext cx="2903620" cy="924910"/>
          </a:xfrm>
          <a:prstGeom prst="wedgeRectCallout">
            <a:avLst>
              <a:gd name="adj1" fmla="val 39593"/>
              <a:gd name="adj2" fmla="val -123292"/>
            </a:avLst>
          </a:prstGeom>
          <a:solidFill>
            <a:srgbClr val="06706D"/>
          </a:solidFill>
          <a:ln>
            <a:solidFill>
              <a:srgbClr val="0670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Body</a:t>
            </a:r>
          </a:p>
        </p:txBody>
      </p:sp>
    </p:spTree>
    <p:extLst>
      <p:ext uri="{BB962C8B-B14F-4D97-AF65-F5344CB8AC3E}">
        <p14:creationId xmlns:p14="http://schemas.microsoft.com/office/powerpoint/2010/main" val="312362969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86CA56E-167C-4C24-9F25-A82529EAD6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b="1" dirty="0"/>
              <a:t>As an ecosystem, we will…:</a:t>
            </a:r>
            <a:br>
              <a:rPr lang="en-GB" sz="2400" dirty="0"/>
            </a:br>
            <a:r>
              <a:rPr lang="en-GB" sz="2400" dirty="0"/>
              <a:t>Share vocabularies to make more Events relevant to each other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0F3DB13B-D96C-450B-B86E-95867CA1D794}"/>
              </a:ext>
            </a:extLst>
          </p:cNvPr>
          <p:cNvGraphicFramePr>
            <a:graphicFrameLocks noGrp="1"/>
          </p:cNvGraphicFramePr>
          <p:nvPr/>
        </p:nvGraphicFramePr>
        <p:xfrm>
          <a:off x="220630" y="1569536"/>
          <a:ext cx="9098808" cy="1990725"/>
        </p:xfrm>
        <a:graphic>
          <a:graphicData uri="http://schemas.openxmlformats.org/drawingml/2006/table">
            <a:tbl>
              <a:tblPr/>
              <a:tblGrid>
                <a:gridCol w="2411560">
                  <a:extLst>
                    <a:ext uri="{9D8B030D-6E8A-4147-A177-3AD203B41FA5}">
                      <a16:colId xmlns:a16="http://schemas.microsoft.com/office/drawing/2014/main" val="3296430878"/>
                    </a:ext>
                  </a:extLst>
                </a:gridCol>
                <a:gridCol w="6687248">
                  <a:extLst>
                    <a:ext uri="{9D8B030D-6E8A-4147-A177-3AD203B41FA5}">
                      <a16:colId xmlns:a16="http://schemas.microsoft.com/office/drawing/2014/main" val="519595267"/>
                    </a:ext>
                  </a:extLst>
                </a:gridCol>
              </a:tblGrid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GB" sz="1050" b="1" u="none" strike="noStrike" dirty="0">
                          <a:effectLst/>
                          <a:latin typeface="+mj-lt"/>
                        </a:rPr>
                        <a:t>Verb</a:t>
                      </a:r>
                      <a:endParaRPr lang="en-GB" sz="105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50" b="1" u="none" strike="noStrike" dirty="0">
                          <a:effectLst/>
                          <a:latin typeface="+mj-lt"/>
                        </a:rPr>
                        <a:t>Definition</a:t>
                      </a:r>
                      <a:endParaRPr lang="en-GB" sz="105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5940237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GB" sz="1050" u="none" strike="noStrike" dirty="0" err="1">
                          <a:effectLst/>
                          <a:latin typeface="+mj-lt"/>
                        </a:rPr>
                        <a:t>hasIssuedKnowledgeBasedChallenge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50" u="none" strike="noStrike" dirty="0">
                          <a:effectLst/>
                          <a:latin typeface="+mj-lt"/>
                        </a:rPr>
                        <a:t>The Actor has issued a Knowledge Based challenge to verify a Claimant's relationship with evidence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08180556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GB" sz="1050" u="none" strike="noStrike" dirty="0" err="1">
                          <a:effectLst/>
                          <a:latin typeface="+mj-lt"/>
                        </a:rPr>
                        <a:t>hasPassedKnowledgeBasedChallenge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 w="3175" cmpd="sng">
                      <a:noFill/>
                    </a:lnT>
                    <a:lnB w="317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50" u="none" strike="noStrike" dirty="0">
                          <a:effectLst/>
                          <a:latin typeface="+mj-lt"/>
                        </a:rPr>
                        <a:t>The Actor (e.g. claimant) has responded successfully to a Knowledge Based challenge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 w="3175" cmpd="sng">
                      <a:noFill/>
                    </a:lnT>
                    <a:lnB w="317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86184033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GB" sz="1050" u="none" strike="noStrike" dirty="0" err="1">
                          <a:effectLst/>
                          <a:latin typeface="+mj-lt"/>
                        </a:rPr>
                        <a:t>hasFailedKnowledgeBasedChallenge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 w="3175" cmpd="sng">
                      <a:noFill/>
                    </a:lnT>
                    <a:lnB w="317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50" u="none" strike="noStrike" dirty="0">
                          <a:effectLst/>
                          <a:latin typeface="+mj-lt"/>
                        </a:rPr>
                        <a:t>The Actor (e.g. claimant) has responded unsuccessfully to a Knowledge Based challenge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 w="3175" cmpd="sng">
                      <a:noFill/>
                    </a:lnT>
                    <a:lnB w="317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1897195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GB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hasSentActivationCode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 w="3175" cmpd="sng">
                      <a:noFill/>
                    </a:lnT>
                    <a:lnB w="317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he Actor has sent an activation code to the claimed identity (e.g. debit card]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 w="3175" cmpd="sng">
                      <a:noFill/>
                    </a:lnT>
                    <a:lnB w="317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85307658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GB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hasRespondedActivationCode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 w="3175" cmpd="sng">
                      <a:noFill/>
                    </a:lnT>
                    <a:lnB w="317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he Actor (e.g. claimant) has responded successfully and used the activation code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 w="3175" cmpd="sng">
                      <a:noFill/>
                    </a:lnT>
                    <a:lnB w="317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00453574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GB" sz="1050" u="none" strike="noStrike" dirty="0" err="1">
                          <a:effectLst/>
                          <a:latin typeface="+mj-lt"/>
                        </a:rPr>
                        <a:t>checkedPhysiologyEvidence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 w="3175" cmpd="sng">
                      <a:noFill/>
                    </a:lnT>
                    <a:lnB w="317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50" u="none" strike="noStrike">
                          <a:effectLst/>
                          <a:latin typeface="+mj-lt"/>
                        </a:rPr>
                        <a:t>The Actor checked that the Claimant's appearance was consistent with Evidence Attribute Profile (e.g. sex, age)</a:t>
                      </a:r>
                      <a:endParaRPr lang="en-GB" sz="105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 w="3175" cmpd="sng">
                      <a:noFill/>
                    </a:lnT>
                    <a:lnB w="317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82503915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GB" sz="1050" u="none" strike="noStrike" dirty="0" err="1">
                          <a:effectLst/>
                          <a:latin typeface="+mj-lt"/>
                        </a:rPr>
                        <a:t>checkedFacePhotoInPerson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 w="3175" cmpd="sng">
                      <a:noFill/>
                    </a:lnT>
                    <a:lnB w="317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50" u="none" strike="noStrike">
                          <a:effectLst/>
                          <a:latin typeface="+mj-lt"/>
                        </a:rPr>
                        <a:t>The Actor checked the face of the Claimant in person, to compare to photo image from evidence</a:t>
                      </a:r>
                      <a:endParaRPr lang="en-GB" sz="105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 w="3175" cmpd="sng">
                      <a:noFill/>
                    </a:lnT>
                    <a:lnB w="317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2993812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GB" sz="1050" u="none" strike="noStrike" dirty="0" err="1">
                          <a:effectLst/>
                          <a:latin typeface="+mj-lt"/>
                        </a:rPr>
                        <a:t>checkedFacePhotoRemote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 w="3175" cmpd="sng">
                      <a:noFill/>
                    </a:lnT>
                    <a:lnB w="317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50" u="none" strike="noStrike">
                          <a:effectLst/>
                          <a:latin typeface="+mj-lt"/>
                        </a:rPr>
                        <a:t>The Actor checked the face of the Claimant remotely (e.g. video link), to compare to photo image from evidence</a:t>
                      </a:r>
                      <a:endParaRPr lang="en-GB" sz="105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 w="3175" cmpd="sng">
                      <a:noFill/>
                    </a:lnT>
                    <a:lnB w="317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26192160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GB" sz="1050" u="none" strike="noStrike" dirty="0" err="1">
                          <a:effectLst/>
                          <a:latin typeface="+mj-lt"/>
                        </a:rPr>
                        <a:t>checkedBiometricsPhysical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 w="3175" cmpd="sng">
                      <a:noFill/>
                    </a:lnT>
                    <a:lnB w="317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50" u="none" strike="noStrike">
                          <a:effectLst/>
                          <a:latin typeface="+mj-lt"/>
                        </a:rPr>
                        <a:t>The Actor checked that Claimant's biometrics matched those contained in the Evidence, using physical tools</a:t>
                      </a:r>
                      <a:endParaRPr lang="en-GB" sz="105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 w="3175" cmpd="sng">
                      <a:noFill/>
                    </a:lnT>
                    <a:lnB w="317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83347460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algn="l" fontAlgn="b"/>
                      <a:r>
                        <a:rPr lang="en-GB" sz="1050" u="none" strike="noStrike" dirty="0" err="1">
                          <a:effectLst/>
                          <a:latin typeface="+mj-lt"/>
                        </a:rPr>
                        <a:t>checkedBiometricsDigital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 w="3175" cmpd="sng">
                      <a:noFill/>
                    </a:lnT>
                    <a:lnB w="317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50" u="none" strike="noStrike" dirty="0">
                          <a:effectLst/>
                          <a:latin typeface="+mj-lt"/>
                        </a:rPr>
                        <a:t>The Actor checked that Claimant's biometrics matched those contained in the Evidence, using digital technology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 w="3175" cmpd="sng">
                      <a:noFill/>
                    </a:lnT>
                    <a:lnB w="317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27219515"/>
                  </a:ext>
                </a:extLst>
              </a:tr>
            </a:tbl>
          </a:graphicData>
        </a:graphic>
      </p:graphicFrame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2B770719-0C00-4D6F-AAFF-4A719C2DA7B4}"/>
              </a:ext>
            </a:extLst>
          </p:cNvPr>
          <p:cNvSpPr txBox="1">
            <a:spLocks/>
          </p:cNvSpPr>
          <p:nvPr/>
        </p:nvSpPr>
        <p:spPr>
          <a:xfrm>
            <a:off x="457199" y="1186382"/>
            <a:ext cx="6613451" cy="365760"/>
          </a:xfrm>
          <a:prstGeom prst="rect">
            <a:avLst/>
          </a:prstGeom>
        </p:spPr>
        <p:txBody>
          <a:bodyPr/>
          <a:lstStyle>
            <a:lvl1pPr marL="182880" indent="-18288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49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237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11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899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187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475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8488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b="1" dirty="0"/>
              <a:t>Example: events to check evidence belongs to a Claimant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A7319FBC-08C7-447D-8FB9-FE99A91B2EA5}"/>
              </a:ext>
            </a:extLst>
          </p:cNvPr>
          <p:cNvSpPr/>
          <p:nvPr/>
        </p:nvSpPr>
        <p:spPr>
          <a:xfrm>
            <a:off x="3740002" y="4162447"/>
            <a:ext cx="1637414" cy="1642730"/>
          </a:xfrm>
          <a:prstGeom prst="ellipse">
            <a:avLst/>
          </a:prstGeom>
          <a:solidFill>
            <a:srgbClr val="06706D">
              <a:alpha val="30196"/>
            </a:srgbClr>
          </a:solidFill>
          <a:ln w="9525">
            <a:solidFill>
              <a:srgbClr val="0670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2D4B13F-8A67-479F-83BB-7459991E453F}"/>
              </a:ext>
            </a:extLst>
          </p:cNvPr>
          <p:cNvSpPr/>
          <p:nvPr/>
        </p:nvSpPr>
        <p:spPr>
          <a:xfrm>
            <a:off x="4316818" y="4906074"/>
            <a:ext cx="1637414" cy="1642730"/>
          </a:xfrm>
          <a:prstGeom prst="ellipse">
            <a:avLst/>
          </a:prstGeom>
          <a:solidFill>
            <a:srgbClr val="06706D">
              <a:alpha val="30196"/>
            </a:srgbClr>
          </a:solidFill>
          <a:ln w="9525">
            <a:solidFill>
              <a:srgbClr val="0670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41E6C3C7-5419-4EE1-86AA-05C2DCCC7C23}"/>
              </a:ext>
            </a:extLst>
          </p:cNvPr>
          <p:cNvSpPr/>
          <p:nvPr/>
        </p:nvSpPr>
        <p:spPr>
          <a:xfrm>
            <a:off x="3163186" y="4906074"/>
            <a:ext cx="1637414" cy="1642730"/>
          </a:xfrm>
          <a:prstGeom prst="ellipse">
            <a:avLst/>
          </a:prstGeom>
          <a:solidFill>
            <a:srgbClr val="06706D">
              <a:alpha val="30196"/>
            </a:srgbClr>
          </a:solidFill>
          <a:ln w="9525">
            <a:solidFill>
              <a:srgbClr val="0670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E0DFA676-7D1B-4EDD-8887-CE8B229A03A3}"/>
              </a:ext>
            </a:extLst>
          </p:cNvPr>
          <p:cNvSpPr txBox="1">
            <a:spLocks/>
          </p:cNvSpPr>
          <p:nvPr/>
        </p:nvSpPr>
        <p:spPr>
          <a:xfrm>
            <a:off x="457199" y="3759475"/>
            <a:ext cx="7570382" cy="365760"/>
          </a:xfrm>
          <a:prstGeom prst="rect">
            <a:avLst/>
          </a:prstGeom>
        </p:spPr>
        <p:txBody>
          <a:bodyPr/>
          <a:lstStyle>
            <a:lvl1pPr marL="182880" indent="-18288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49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237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11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899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187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475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8488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b="1" dirty="0"/>
              <a:t>Illustration: overlapping semantic referenc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2B92560-EA1D-4E36-9C5A-83BD19388F82}"/>
              </a:ext>
            </a:extLst>
          </p:cNvPr>
          <p:cNvSpPr txBox="1"/>
          <p:nvPr/>
        </p:nvSpPr>
        <p:spPr>
          <a:xfrm>
            <a:off x="5427921" y="4497572"/>
            <a:ext cx="46006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200" b="1" dirty="0"/>
              <a:t>Bank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13B1C78-C2E3-4EC7-8548-EFC8C3B7D5D5}"/>
              </a:ext>
            </a:extLst>
          </p:cNvPr>
          <p:cNvSpPr txBox="1"/>
          <p:nvPr/>
        </p:nvSpPr>
        <p:spPr>
          <a:xfrm>
            <a:off x="2473093" y="5620511"/>
            <a:ext cx="47590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200" b="1" dirty="0" err="1"/>
              <a:t>Telcos</a:t>
            </a:r>
            <a:endParaRPr lang="en-GB" sz="1200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8A880AF-572E-4F60-A475-F3761833582B}"/>
              </a:ext>
            </a:extLst>
          </p:cNvPr>
          <p:cNvSpPr txBox="1"/>
          <p:nvPr/>
        </p:nvSpPr>
        <p:spPr>
          <a:xfrm>
            <a:off x="6150186" y="5620511"/>
            <a:ext cx="55624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200" b="1" dirty="0"/>
              <a:t>Utilities</a:t>
            </a:r>
          </a:p>
        </p:txBody>
      </p:sp>
    </p:spTree>
    <p:extLst>
      <p:ext uri="{BB962C8B-B14F-4D97-AF65-F5344CB8AC3E}">
        <p14:creationId xmlns:p14="http://schemas.microsoft.com/office/powerpoint/2010/main" val="36976401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2F09528-6091-42B8-9397-185D088C8BB9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sz="1800" dirty="0"/>
              <a:t>Introductions		 			14.00 – 14.10</a:t>
            </a:r>
          </a:p>
          <a:p>
            <a:pPr marL="0" indent="0">
              <a:buNone/>
            </a:pPr>
            <a:endParaRPr lang="en-GB" sz="1800" dirty="0"/>
          </a:p>
          <a:p>
            <a:r>
              <a:rPr lang="en-GB" sz="1800" dirty="0"/>
              <a:t>Recap of key points from Workshop #5		14.10 – 14.30</a:t>
            </a:r>
          </a:p>
          <a:p>
            <a:endParaRPr lang="en-GB" sz="1800" dirty="0"/>
          </a:p>
          <a:p>
            <a:r>
              <a:rPr lang="en-GB" sz="1800" dirty="0"/>
              <a:t>Discussion – OEF rules of engagement		14.30 – 16.00</a:t>
            </a:r>
          </a:p>
          <a:p>
            <a:endParaRPr lang="en-GB" sz="1800" dirty="0"/>
          </a:p>
          <a:p>
            <a:r>
              <a:rPr lang="en-GB" sz="1800" dirty="0"/>
              <a:t>Target use case – importing wine into the UK	16.00 – 16.45</a:t>
            </a:r>
          </a:p>
          <a:p>
            <a:endParaRPr lang="en-GB" sz="1800" dirty="0"/>
          </a:p>
          <a:p>
            <a:r>
              <a:rPr lang="en-GB" sz="1800" dirty="0"/>
              <a:t>Questions / any other business			16.45 – 17.00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5B2B846-8BEE-49FE-9848-2D945D5BDB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61475210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024779D-1A44-4BCA-BE36-768322B5A8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b="1" dirty="0"/>
              <a:t>As an ecosystem, we will…:</a:t>
            </a:r>
            <a:br>
              <a:rPr lang="en-GB" sz="2400" dirty="0"/>
            </a:br>
            <a:r>
              <a:rPr lang="en-GB" sz="2400" dirty="0"/>
              <a:t>Store (and explicitly manage</a:t>
            </a:r>
            <a:r>
              <a:rPr lang="en-GB" sz="2400"/>
              <a:t>) Events separately </a:t>
            </a:r>
            <a:r>
              <a:rPr lang="en-GB" sz="2400" dirty="0"/>
              <a:t>from attributes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C327C3A5-AD45-4BCD-9AE8-EFE211F9375B}"/>
              </a:ext>
            </a:extLst>
          </p:cNvPr>
          <p:cNvSpPr txBox="1">
            <a:spLocks/>
          </p:cNvSpPr>
          <p:nvPr/>
        </p:nvSpPr>
        <p:spPr>
          <a:xfrm>
            <a:off x="4917558" y="1516844"/>
            <a:ext cx="4311502" cy="4443984"/>
          </a:xfrm>
          <a:prstGeom prst="rect">
            <a:avLst/>
          </a:prstGeom>
        </p:spPr>
        <p:txBody>
          <a:bodyPr/>
          <a:lstStyle>
            <a:lvl1pPr marL="182880" indent="-18288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49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237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11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899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187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475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8488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b="1" dirty="0">
                <a:solidFill>
                  <a:srgbClr val="06706D"/>
                </a:solidFill>
              </a:rPr>
              <a:t>End users</a:t>
            </a:r>
            <a:r>
              <a:rPr lang="en-GB" sz="1600" b="1" dirty="0"/>
              <a:t> </a:t>
            </a:r>
            <a:r>
              <a:rPr lang="en-GB" sz="1600" dirty="0"/>
              <a:t>engage with applications</a:t>
            </a:r>
          </a:p>
          <a:p>
            <a:endParaRPr lang="en-GB" sz="1600" dirty="0"/>
          </a:p>
          <a:p>
            <a:endParaRPr lang="en-GB" sz="1600" dirty="0"/>
          </a:p>
          <a:p>
            <a:endParaRPr lang="en-GB" sz="1600" dirty="0"/>
          </a:p>
          <a:p>
            <a:r>
              <a:rPr lang="en-GB" sz="1600" b="1" dirty="0">
                <a:solidFill>
                  <a:srgbClr val="06706D"/>
                </a:solidFill>
              </a:rPr>
              <a:t>Applications </a:t>
            </a:r>
            <a:r>
              <a:rPr lang="en-GB" sz="1600" dirty="0"/>
              <a:t>host end user attributes</a:t>
            </a:r>
          </a:p>
          <a:p>
            <a:pPr lvl="1"/>
            <a:endParaRPr lang="en-GB" sz="1600" dirty="0"/>
          </a:p>
          <a:p>
            <a:pPr lvl="1"/>
            <a:endParaRPr lang="en-GB" sz="1600" dirty="0"/>
          </a:p>
          <a:p>
            <a:pPr lvl="1"/>
            <a:endParaRPr lang="en-GB" sz="1800" dirty="0"/>
          </a:p>
          <a:p>
            <a:endParaRPr lang="en-GB" sz="1800" dirty="0"/>
          </a:p>
          <a:p>
            <a:r>
              <a:rPr lang="en-GB" sz="1600" dirty="0"/>
              <a:t>Distributed </a:t>
            </a:r>
            <a:r>
              <a:rPr lang="en-GB" sz="1600" b="1" dirty="0">
                <a:solidFill>
                  <a:srgbClr val="06706D"/>
                </a:solidFill>
              </a:rPr>
              <a:t>metadata service provision</a:t>
            </a:r>
          </a:p>
          <a:p>
            <a:endParaRPr lang="en-GB" sz="1600" dirty="0"/>
          </a:p>
          <a:p>
            <a:pPr lvl="1"/>
            <a:endParaRPr lang="en-GB" sz="1600" dirty="0"/>
          </a:p>
          <a:p>
            <a:pPr lvl="1"/>
            <a:endParaRPr lang="en-GB" sz="1600" dirty="0"/>
          </a:p>
          <a:p>
            <a:r>
              <a:rPr lang="en-GB" sz="1600" dirty="0"/>
              <a:t>A shared – or shareable – </a:t>
            </a:r>
            <a:r>
              <a:rPr lang="en-GB" sz="1600" b="1" dirty="0">
                <a:solidFill>
                  <a:srgbClr val="06706D"/>
                </a:solidFill>
              </a:rPr>
              <a:t>metadata layer</a:t>
            </a:r>
            <a:endParaRPr lang="en-GB" sz="1600" dirty="0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2B1B6248-94B7-4CD8-A6E3-1CD859A0783B}"/>
              </a:ext>
            </a:extLst>
          </p:cNvPr>
          <p:cNvCxnSpPr/>
          <p:nvPr/>
        </p:nvCxnSpPr>
        <p:spPr>
          <a:xfrm flipH="1">
            <a:off x="4435249" y="1690882"/>
            <a:ext cx="614852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7262E6E2-233D-42A2-BCA0-E651AA8F94A5}"/>
              </a:ext>
            </a:extLst>
          </p:cNvPr>
          <p:cNvCxnSpPr>
            <a:cxnSpLocks/>
          </p:cNvCxnSpPr>
          <p:nvPr/>
        </p:nvCxnSpPr>
        <p:spPr>
          <a:xfrm flipH="1">
            <a:off x="4181787" y="3029126"/>
            <a:ext cx="868314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3B93CE97-2584-4D02-A07A-240A5D5CBD76}"/>
              </a:ext>
            </a:extLst>
          </p:cNvPr>
          <p:cNvCxnSpPr/>
          <p:nvPr/>
        </p:nvCxnSpPr>
        <p:spPr>
          <a:xfrm flipH="1">
            <a:off x="4449647" y="4604876"/>
            <a:ext cx="614852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60A68CF6-1798-4C56-881C-BA6BC45B3C04}"/>
              </a:ext>
            </a:extLst>
          </p:cNvPr>
          <p:cNvCxnSpPr/>
          <p:nvPr/>
        </p:nvCxnSpPr>
        <p:spPr>
          <a:xfrm flipH="1">
            <a:off x="4150101" y="5841309"/>
            <a:ext cx="900000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val 11">
            <a:extLst>
              <a:ext uri="{FF2B5EF4-FFF2-40B4-BE49-F238E27FC236}">
                <a16:creationId xmlns:a16="http://schemas.microsoft.com/office/drawing/2014/main" id="{1C054BC1-CB00-417B-ABB1-45BD9894773F}"/>
              </a:ext>
            </a:extLst>
          </p:cNvPr>
          <p:cNvSpPr/>
          <p:nvPr/>
        </p:nvSpPr>
        <p:spPr>
          <a:xfrm>
            <a:off x="739134" y="2633787"/>
            <a:ext cx="792000" cy="792000"/>
          </a:xfrm>
          <a:prstGeom prst="ellipse">
            <a:avLst/>
          </a:prstGeom>
          <a:solidFill>
            <a:srgbClr val="BDDDA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App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5A38EBBB-B051-431D-9796-110A59CDCB7C}"/>
              </a:ext>
            </a:extLst>
          </p:cNvPr>
          <p:cNvSpPr/>
          <p:nvPr/>
        </p:nvSpPr>
        <p:spPr>
          <a:xfrm>
            <a:off x="3325834" y="2637253"/>
            <a:ext cx="792000" cy="792000"/>
          </a:xfrm>
          <a:prstGeom prst="ellipse">
            <a:avLst/>
          </a:prstGeom>
          <a:solidFill>
            <a:srgbClr val="BDDDA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App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8D12AB7-5B54-424D-9979-8E4A34B5582A}"/>
              </a:ext>
            </a:extLst>
          </p:cNvPr>
          <p:cNvSpPr/>
          <p:nvPr/>
        </p:nvSpPr>
        <p:spPr>
          <a:xfrm>
            <a:off x="684558" y="4201086"/>
            <a:ext cx="914418" cy="792000"/>
          </a:xfrm>
          <a:prstGeom prst="rect">
            <a:avLst/>
          </a:prstGeom>
          <a:solidFill>
            <a:srgbClr val="C5CAE7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Metadata Service Provider</a:t>
            </a:r>
          </a:p>
        </p:txBody>
      </p: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711B7904-14AC-4128-A405-F578B8DF39DC}"/>
              </a:ext>
            </a:extLst>
          </p:cNvPr>
          <p:cNvCxnSpPr>
            <a:cxnSpLocks/>
            <a:stCxn id="18" idx="0"/>
            <a:endCxn id="13" idx="4"/>
          </p:cNvCxnSpPr>
          <p:nvPr/>
        </p:nvCxnSpPr>
        <p:spPr>
          <a:xfrm rot="16200000" flipV="1">
            <a:off x="3334115" y="3816973"/>
            <a:ext cx="778183" cy="2744"/>
          </a:xfrm>
          <a:prstGeom prst="bentConnector3">
            <a:avLst>
              <a:gd name="adj1" fmla="val 50000"/>
            </a:avLst>
          </a:prstGeom>
          <a:ln w="9525">
            <a:solidFill>
              <a:schemeClr val="accent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5E9F5BE6-50C1-4EBB-A264-8E198736ADCB}"/>
              </a:ext>
            </a:extLst>
          </p:cNvPr>
          <p:cNvCxnSpPr>
            <a:cxnSpLocks/>
            <a:stCxn id="14" idx="0"/>
            <a:endCxn id="12" idx="4"/>
          </p:cNvCxnSpPr>
          <p:nvPr/>
        </p:nvCxnSpPr>
        <p:spPr>
          <a:xfrm rot="16200000" flipV="1">
            <a:off x="750802" y="3810120"/>
            <a:ext cx="775299" cy="6633"/>
          </a:xfrm>
          <a:prstGeom prst="bentConnector3">
            <a:avLst>
              <a:gd name="adj1" fmla="val 50000"/>
            </a:avLst>
          </a:prstGeom>
          <a:ln w="9525">
            <a:solidFill>
              <a:schemeClr val="accent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DBAAC96F-7276-4B41-A971-9C77755308D7}"/>
              </a:ext>
            </a:extLst>
          </p:cNvPr>
          <p:cNvCxnSpPr>
            <a:cxnSpLocks/>
            <a:stCxn id="12" idx="6"/>
            <a:endCxn id="13" idx="2"/>
          </p:cNvCxnSpPr>
          <p:nvPr/>
        </p:nvCxnSpPr>
        <p:spPr>
          <a:xfrm>
            <a:off x="1531134" y="3029787"/>
            <a:ext cx="1794700" cy="3466"/>
          </a:xfrm>
          <a:prstGeom prst="bentConnector3">
            <a:avLst>
              <a:gd name="adj1" fmla="val 50000"/>
            </a:avLst>
          </a:prstGeom>
          <a:ln w="9525">
            <a:solidFill>
              <a:schemeClr val="accent3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95C2F207-E846-4562-91A7-2F880F85CE64}"/>
              </a:ext>
            </a:extLst>
          </p:cNvPr>
          <p:cNvSpPr/>
          <p:nvPr/>
        </p:nvSpPr>
        <p:spPr>
          <a:xfrm>
            <a:off x="3267369" y="4207436"/>
            <a:ext cx="914418" cy="792000"/>
          </a:xfrm>
          <a:prstGeom prst="rect">
            <a:avLst/>
          </a:prstGeom>
          <a:solidFill>
            <a:srgbClr val="C5CAE7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Metadata Service Provider</a:t>
            </a:r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39AF35AE-B8C3-4B5E-AB5C-AB6D4F494C62}"/>
              </a:ext>
            </a:extLst>
          </p:cNvPr>
          <p:cNvCxnSpPr>
            <a:cxnSpLocks/>
            <a:stCxn id="21" idx="3"/>
            <a:endCxn id="14" idx="2"/>
          </p:cNvCxnSpPr>
          <p:nvPr/>
        </p:nvCxnSpPr>
        <p:spPr>
          <a:xfrm rot="10800000">
            <a:off x="1141768" y="4993087"/>
            <a:ext cx="729563" cy="987619"/>
          </a:xfrm>
          <a:prstGeom prst="bentConnector2">
            <a:avLst/>
          </a:prstGeom>
          <a:ln w="9525">
            <a:solidFill>
              <a:schemeClr val="accent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DD3C0DD0-FA90-4E37-824C-881689752D65}"/>
              </a:ext>
            </a:extLst>
          </p:cNvPr>
          <p:cNvCxnSpPr>
            <a:cxnSpLocks/>
            <a:stCxn id="21" idx="0"/>
            <a:endCxn id="18" idx="2"/>
          </p:cNvCxnSpPr>
          <p:nvPr/>
        </p:nvCxnSpPr>
        <p:spPr>
          <a:xfrm flipV="1">
            <a:off x="2961167" y="4999436"/>
            <a:ext cx="763411" cy="981269"/>
          </a:xfrm>
          <a:prstGeom prst="bentConnector2">
            <a:avLst/>
          </a:prstGeom>
          <a:ln w="9525">
            <a:solidFill>
              <a:schemeClr val="accent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Hexagon 20">
            <a:extLst>
              <a:ext uri="{FF2B5EF4-FFF2-40B4-BE49-F238E27FC236}">
                <a16:creationId xmlns:a16="http://schemas.microsoft.com/office/drawing/2014/main" id="{C160EF21-638B-4CB2-90E5-5AF7711C1920}"/>
              </a:ext>
            </a:extLst>
          </p:cNvPr>
          <p:cNvSpPr/>
          <p:nvPr/>
        </p:nvSpPr>
        <p:spPr>
          <a:xfrm>
            <a:off x="1871330" y="5620705"/>
            <a:ext cx="1089837" cy="720000"/>
          </a:xfrm>
          <a:prstGeom prst="hexagon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400" b="1" dirty="0">
                <a:solidFill>
                  <a:schemeClr val="tx1"/>
                </a:solidFill>
              </a:rPr>
              <a:t>Syntax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7B216ED-AB1D-493E-8174-9C69C3845AE4}"/>
              </a:ext>
            </a:extLst>
          </p:cNvPr>
          <p:cNvSpPr txBox="1"/>
          <p:nvPr/>
        </p:nvSpPr>
        <p:spPr>
          <a:xfrm>
            <a:off x="509619" y="3734773"/>
            <a:ext cx="1247136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GB" sz="1200" dirty="0"/>
              <a:t>…contracts with…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24766CE-A0F1-4004-9922-83E0A792B814}"/>
              </a:ext>
            </a:extLst>
          </p:cNvPr>
          <p:cNvSpPr txBox="1"/>
          <p:nvPr/>
        </p:nvSpPr>
        <p:spPr>
          <a:xfrm>
            <a:off x="3101574" y="3716275"/>
            <a:ext cx="1247136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GB" sz="1200" dirty="0"/>
              <a:t>…contracts with…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7321754-A849-4542-8C2E-2407BCEC42EC}"/>
              </a:ext>
            </a:extLst>
          </p:cNvPr>
          <p:cNvSpPr txBox="1"/>
          <p:nvPr/>
        </p:nvSpPr>
        <p:spPr>
          <a:xfrm>
            <a:off x="1576363" y="2748766"/>
            <a:ext cx="167859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/>
              <a:t>...exchanges data with…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E0EAC38-7C8D-4492-8F51-9D0C69CE1C3C}"/>
              </a:ext>
            </a:extLst>
          </p:cNvPr>
          <p:cNvSpPr txBox="1"/>
          <p:nvPr/>
        </p:nvSpPr>
        <p:spPr>
          <a:xfrm>
            <a:off x="535002" y="5391474"/>
            <a:ext cx="1227900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GB" sz="1200" dirty="0"/>
              <a:t>…complies with…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B711070-5EE5-423D-9305-8EE62B21A8BA}"/>
              </a:ext>
            </a:extLst>
          </p:cNvPr>
          <p:cNvSpPr txBox="1"/>
          <p:nvPr/>
        </p:nvSpPr>
        <p:spPr>
          <a:xfrm>
            <a:off x="3127849" y="5385136"/>
            <a:ext cx="1227900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GB" sz="1200" dirty="0"/>
              <a:t>…complies with…</a:t>
            </a:r>
          </a:p>
        </p:txBody>
      </p: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7D066297-4964-4928-BC14-7C08CDD1AFFD}"/>
              </a:ext>
            </a:extLst>
          </p:cNvPr>
          <p:cNvCxnSpPr>
            <a:cxnSpLocks/>
            <a:stCxn id="14" idx="3"/>
            <a:endCxn id="18" idx="1"/>
          </p:cNvCxnSpPr>
          <p:nvPr/>
        </p:nvCxnSpPr>
        <p:spPr>
          <a:xfrm>
            <a:off x="1598976" y="4597086"/>
            <a:ext cx="1668393" cy="6350"/>
          </a:xfrm>
          <a:prstGeom prst="bentConnector3">
            <a:avLst>
              <a:gd name="adj1" fmla="val 50000"/>
            </a:avLst>
          </a:prstGeom>
          <a:ln w="9525">
            <a:solidFill>
              <a:schemeClr val="accent3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7E09CAD2-9541-4977-861F-53B082D254C7}"/>
              </a:ext>
            </a:extLst>
          </p:cNvPr>
          <p:cNvSpPr txBox="1"/>
          <p:nvPr/>
        </p:nvSpPr>
        <p:spPr>
          <a:xfrm>
            <a:off x="1618378" y="4330400"/>
            <a:ext cx="164590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/>
              <a:t>...communicates with…</a:t>
            </a:r>
          </a:p>
        </p:txBody>
      </p:sp>
      <p:sp>
        <p:nvSpPr>
          <p:cNvPr id="29" name="Diamond 28">
            <a:extLst>
              <a:ext uri="{FF2B5EF4-FFF2-40B4-BE49-F238E27FC236}">
                <a16:creationId xmlns:a16="http://schemas.microsoft.com/office/drawing/2014/main" id="{BF35E0AF-C4C8-4CE7-A3A5-5E6744EDAE0F}"/>
              </a:ext>
            </a:extLst>
          </p:cNvPr>
          <p:cNvSpPr/>
          <p:nvPr/>
        </p:nvSpPr>
        <p:spPr>
          <a:xfrm>
            <a:off x="457200" y="1525926"/>
            <a:ext cx="324000" cy="324000"/>
          </a:xfrm>
          <a:prstGeom prst="diamond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30" name="Diamond 29">
            <a:extLst>
              <a:ext uri="{FF2B5EF4-FFF2-40B4-BE49-F238E27FC236}">
                <a16:creationId xmlns:a16="http://schemas.microsoft.com/office/drawing/2014/main" id="{83FA8905-4FEB-44BF-9BF6-AA8CF1DC5006}"/>
              </a:ext>
            </a:extLst>
          </p:cNvPr>
          <p:cNvSpPr/>
          <p:nvPr/>
        </p:nvSpPr>
        <p:spPr>
          <a:xfrm>
            <a:off x="974521" y="1537517"/>
            <a:ext cx="324000" cy="324000"/>
          </a:xfrm>
          <a:prstGeom prst="diamond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31" name="Diamond 30">
            <a:extLst>
              <a:ext uri="{FF2B5EF4-FFF2-40B4-BE49-F238E27FC236}">
                <a16:creationId xmlns:a16="http://schemas.microsoft.com/office/drawing/2014/main" id="{4E5196B0-AFF2-4DA8-B452-0C7F72DA46D6}"/>
              </a:ext>
            </a:extLst>
          </p:cNvPr>
          <p:cNvSpPr/>
          <p:nvPr/>
        </p:nvSpPr>
        <p:spPr>
          <a:xfrm>
            <a:off x="1492024" y="1525926"/>
            <a:ext cx="324000" cy="324000"/>
          </a:xfrm>
          <a:prstGeom prst="diamond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32" name="Diamond 31">
            <a:extLst>
              <a:ext uri="{FF2B5EF4-FFF2-40B4-BE49-F238E27FC236}">
                <a16:creationId xmlns:a16="http://schemas.microsoft.com/office/drawing/2014/main" id="{6BE219F9-2374-470A-A85F-5C67E7027941}"/>
              </a:ext>
            </a:extLst>
          </p:cNvPr>
          <p:cNvSpPr/>
          <p:nvPr/>
        </p:nvSpPr>
        <p:spPr>
          <a:xfrm>
            <a:off x="2015767" y="1534398"/>
            <a:ext cx="324000" cy="324000"/>
          </a:xfrm>
          <a:prstGeom prst="diamond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33" name="Diamond 32">
            <a:extLst>
              <a:ext uri="{FF2B5EF4-FFF2-40B4-BE49-F238E27FC236}">
                <a16:creationId xmlns:a16="http://schemas.microsoft.com/office/drawing/2014/main" id="{32AA4DB2-55F1-404F-BBF5-4D506CF59D14}"/>
              </a:ext>
            </a:extLst>
          </p:cNvPr>
          <p:cNvSpPr/>
          <p:nvPr/>
        </p:nvSpPr>
        <p:spPr>
          <a:xfrm>
            <a:off x="2533535" y="1526932"/>
            <a:ext cx="324000" cy="324000"/>
          </a:xfrm>
          <a:prstGeom prst="diamond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34" name="Diamond 33">
            <a:extLst>
              <a:ext uri="{FF2B5EF4-FFF2-40B4-BE49-F238E27FC236}">
                <a16:creationId xmlns:a16="http://schemas.microsoft.com/office/drawing/2014/main" id="{719B42D3-E61B-44DB-9312-A1BCF01C4DAA}"/>
              </a:ext>
            </a:extLst>
          </p:cNvPr>
          <p:cNvSpPr/>
          <p:nvPr/>
        </p:nvSpPr>
        <p:spPr>
          <a:xfrm>
            <a:off x="4083171" y="1532816"/>
            <a:ext cx="324000" cy="324000"/>
          </a:xfrm>
          <a:prstGeom prst="diamond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35" name="Diamond 34">
            <a:extLst>
              <a:ext uri="{FF2B5EF4-FFF2-40B4-BE49-F238E27FC236}">
                <a16:creationId xmlns:a16="http://schemas.microsoft.com/office/drawing/2014/main" id="{6C58CF5E-7520-4458-B020-4AB836E2EC2D}"/>
              </a:ext>
            </a:extLst>
          </p:cNvPr>
          <p:cNvSpPr/>
          <p:nvPr/>
        </p:nvSpPr>
        <p:spPr>
          <a:xfrm>
            <a:off x="3567237" y="1532816"/>
            <a:ext cx="324000" cy="324000"/>
          </a:xfrm>
          <a:prstGeom prst="diamond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36" name="Diamond 35">
            <a:extLst>
              <a:ext uri="{FF2B5EF4-FFF2-40B4-BE49-F238E27FC236}">
                <a16:creationId xmlns:a16="http://schemas.microsoft.com/office/drawing/2014/main" id="{11100A5B-275E-42FA-82A0-4AAB002ED5C5}"/>
              </a:ext>
            </a:extLst>
          </p:cNvPr>
          <p:cNvSpPr/>
          <p:nvPr/>
        </p:nvSpPr>
        <p:spPr>
          <a:xfrm>
            <a:off x="3051303" y="1531029"/>
            <a:ext cx="324000" cy="324000"/>
          </a:xfrm>
          <a:prstGeom prst="diamond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FF966DFA-7E9C-49B6-A218-BE55333ED45D}"/>
              </a:ext>
            </a:extLst>
          </p:cNvPr>
          <p:cNvCxnSpPr>
            <a:stCxn id="12" idx="0"/>
            <a:endCxn id="29" idx="2"/>
          </p:cNvCxnSpPr>
          <p:nvPr/>
        </p:nvCxnSpPr>
        <p:spPr>
          <a:xfrm flipH="1" flipV="1">
            <a:off x="619200" y="1849926"/>
            <a:ext cx="515934" cy="783861"/>
          </a:xfrm>
          <a:prstGeom prst="straightConnector1">
            <a:avLst/>
          </a:prstGeom>
          <a:ln w="9525">
            <a:solidFill>
              <a:schemeClr val="accent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402A6EC2-49B3-4E2C-87B1-74BA88382314}"/>
              </a:ext>
            </a:extLst>
          </p:cNvPr>
          <p:cNvCxnSpPr>
            <a:cxnSpLocks/>
            <a:stCxn id="12" idx="0"/>
            <a:endCxn id="30" idx="2"/>
          </p:cNvCxnSpPr>
          <p:nvPr/>
        </p:nvCxnSpPr>
        <p:spPr>
          <a:xfrm flipV="1">
            <a:off x="1135134" y="1861517"/>
            <a:ext cx="1387" cy="772270"/>
          </a:xfrm>
          <a:prstGeom prst="straightConnector1">
            <a:avLst/>
          </a:prstGeom>
          <a:ln w="9525">
            <a:solidFill>
              <a:schemeClr val="accent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96641E22-54E5-472F-AF5E-0ADB97C17573}"/>
              </a:ext>
            </a:extLst>
          </p:cNvPr>
          <p:cNvCxnSpPr>
            <a:cxnSpLocks/>
            <a:stCxn id="12" idx="0"/>
            <a:endCxn id="31" idx="2"/>
          </p:cNvCxnSpPr>
          <p:nvPr/>
        </p:nvCxnSpPr>
        <p:spPr>
          <a:xfrm flipV="1">
            <a:off x="1135134" y="1849926"/>
            <a:ext cx="518890" cy="783861"/>
          </a:xfrm>
          <a:prstGeom prst="straightConnector1">
            <a:avLst/>
          </a:prstGeom>
          <a:ln w="9525">
            <a:solidFill>
              <a:schemeClr val="accent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8234EE8B-36AB-4E2C-AB15-65D9F956059F}"/>
              </a:ext>
            </a:extLst>
          </p:cNvPr>
          <p:cNvCxnSpPr>
            <a:cxnSpLocks/>
            <a:stCxn id="12" idx="0"/>
            <a:endCxn id="32" idx="2"/>
          </p:cNvCxnSpPr>
          <p:nvPr/>
        </p:nvCxnSpPr>
        <p:spPr>
          <a:xfrm flipV="1">
            <a:off x="1135134" y="1858398"/>
            <a:ext cx="1042633" cy="775389"/>
          </a:xfrm>
          <a:prstGeom prst="straightConnector1">
            <a:avLst/>
          </a:prstGeom>
          <a:ln w="9525">
            <a:solidFill>
              <a:schemeClr val="accent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D74E4491-0356-471B-B2A8-D10B6BD5956D}"/>
              </a:ext>
            </a:extLst>
          </p:cNvPr>
          <p:cNvCxnSpPr>
            <a:cxnSpLocks/>
            <a:stCxn id="12" idx="0"/>
            <a:endCxn id="33" idx="2"/>
          </p:cNvCxnSpPr>
          <p:nvPr/>
        </p:nvCxnSpPr>
        <p:spPr>
          <a:xfrm flipV="1">
            <a:off x="1135134" y="1850932"/>
            <a:ext cx="1560401" cy="782855"/>
          </a:xfrm>
          <a:prstGeom prst="straightConnector1">
            <a:avLst/>
          </a:prstGeom>
          <a:ln w="9525">
            <a:solidFill>
              <a:schemeClr val="accent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E3821862-BBCD-403F-8AD1-22C9204D80F3}"/>
              </a:ext>
            </a:extLst>
          </p:cNvPr>
          <p:cNvCxnSpPr>
            <a:cxnSpLocks/>
            <a:stCxn id="13" idx="0"/>
            <a:endCxn id="34" idx="2"/>
          </p:cNvCxnSpPr>
          <p:nvPr/>
        </p:nvCxnSpPr>
        <p:spPr>
          <a:xfrm flipV="1">
            <a:off x="3721834" y="1856816"/>
            <a:ext cx="523337" cy="780437"/>
          </a:xfrm>
          <a:prstGeom prst="straightConnector1">
            <a:avLst/>
          </a:prstGeom>
          <a:ln w="9525">
            <a:solidFill>
              <a:schemeClr val="accent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AC7E6BA0-6061-4C76-8092-65AD8C142901}"/>
              </a:ext>
            </a:extLst>
          </p:cNvPr>
          <p:cNvCxnSpPr>
            <a:cxnSpLocks/>
            <a:stCxn id="13" idx="0"/>
            <a:endCxn id="35" idx="2"/>
          </p:cNvCxnSpPr>
          <p:nvPr/>
        </p:nvCxnSpPr>
        <p:spPr>
          <a:xfrm flipV="1">
            <a:off x="3721834" y="1856816"/>
            <a:ext cx="7403" cy="780437"/>
          </a:xfrm>
          <a:prstGeom prst="straightConnector1">
            <a:avLst/>
          </a:prstGeom>
          <a:ln w="9525">
            <a:solidFill>
              <a:schemeClr val="accent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D4B1BE1F-C164-4F57-A533-54A50C06FAC1}"/>
              </a:ext>
            </a:extLst>
          </p:cNvPr>
          <p:cNvCxnSpPr>
            <a:cxnSpLocks/>
            <a:stCxn id="13" idx="0"/>
            <a:endCxn id="36" idx="2"/>
          </p:cNvCxnSpPr>
          <p:nvPr/>
        </p:nvCxnSpPr>
        <p:spPr>
          <a:xfrm flipH="1" flipV="1">
            <a:off x="3213303" y="1855029"/>
            <a:ext cx="508531" cy="782224"/>
          </a:xfrm>
          <a:prstGeom prst="straightConnector1">
            <a:avLst/>
          </a:prstGeom>
          <a:ln w="9525">
            <a:solidFill>
              <a:schemeClr val="accent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D97EF3A2-AEA5-4A4D-9A65-C2A18ECFD61F}"/>
              </a:ext>
            </a:extLst>
          </p:cNvPr>
          <p:cNvCxnSpPr>
            <a:cxnSpLocks/>
            <a:stCxn id="13" idx="0"/>
            <a:endCxn id="33" idx="2"/>
          </p:cNvCxnSpPr>
          <p:nvPr/>
        </p:nvCxnSpPr>
        <p:spPr>
          <a:xfrm flipH="1" flipV="1">
            <a:off x="2695535" y="1850932"/>
            <a:ext cx="1026299" cy="786321"/>
          </a:xfrm>
          <a:prstGeom prst="straightConnector1">
            <a:avLst/>
          </a:prstGeom>
          <a:ln w="9525">
            <a:solidFill>
              <a:schemeClr val="accent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681269FD-1275-4B9A-938C-885A6A71AC01}"/>
              </a:ext>
            </a:extLst>
          </p:cNvPr>
          <p:cNvCxnSpPr>
            <a:cxnSpLocks/>
            <a:stCxn id="13" idx="0"/>
            <a:endCxn id="32" idx="2"/>
          </p:cNvCxnSpPr>
          <p:nvPr/>
        </p:nvCxnSpPr>
        <p:spPr>
          <a:xfrm flipH="1" flipV="1">
            <a:off x="2177767" y="1858398"/>
            <a:ext cx="1544067" cy="778855"/>
          </a:xfrm>
          <a:prstGeom prst="straightConnector1">
            <a:avLst/>
          </a:prstGeom>
          <a:ln w="9525">
            <a:solidFill>
              <a:schemeClr val="accent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7CCE9FAF-E2F8-4632-BFE0-D01768D47083}"/>
              </a:ext>
            </a:extLst>
          </p:cNvPr>
          <p:cNvSpPr txBox="1"/>
          <p:nvPr/>
        </p:nvSpPr>
        <p:spPr>
          <a:xfrm>
            <a:off x="784307" y="2085913"/>
            <a:ext cx="1247136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GB" sz="1200" dirty="0"/>
              <a:t>…contracts with…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3DF2507-D624-4087-9CE2-E2D85E512EF8}"/>
              </a:ext>
            </a:extLst>
          </p:cNvPr>
          <p:cNvSpPr txBox="1"/>
          <p:nvPr/>
        </p:nvSpPr>
        <p:spPr>
          <a:xfrm>
            <a:off x="2874201" y="2082427"/>
            <a:ext cx="1247136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GB" sz="1200" dirty="0"/>
              <a:t>…contracts with…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2F8DEDA-A9EB-4FDF-96C5-9CF2E7A8C711}"/>
              </a:ext>
            </a:extLst>
          </p:cNvPr>
          <p:cNvSpPr txBox="1"/>
          <p:nvPr/>
        </p:nvSpPr>
        <p:spPr>
          <a:xfrm>
            <a:off x="2015767" y="1277944"/>
            <a:ext cx="836768" cy="215444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GB" sz="1400" dirty="0"/>
              <a:t>End Users</a:t>
            </a:r>
          </a:p>
        </p:txBody>
      </p:sp>
    </p:spTree>
    <p:extLst>
      <p:ext uri="{BB962C8B-B14F-4D97-AF65-F5344CB8AC3E}">
        <p14:creationId xmlns:p14="http://schemas.microsoft.com/office/powerpoint/2010/main" val="3538611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8" grpId="0" animBg="1"/>
      <p:bldP spid="21" grpId="0" animBg="1"/>
      <p:bldP spid="22" grpId="0" animBg="1"/>
      <p:bldP spid="23" grpId="0" animBg="1"/>
      <p:bldP spid="24" grpId="0"/>
      <p:bldP spid="25" grpId="0" animBg="1"/>
      <p:bldP spid="26" grpId="0" animBg="1"/>
      <p:bldP spid="28" grpId="0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36" grpId="0" animBg="1"/>
      <p:bldP spid="47" grpId="0" animBg="1"/>
      <p:bldP spid="48" grpId="0" animBg="1"/>
      <p:bldP spid="49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/>
        </p:nvGrpSpPr>
        <p:grpSpPr>
          <a:xfrm>
            <a:off x="457200" y="1629837"/>
            <a:ext cx="3606792" cy="3040344"/>
            <a:chOff x="463296" y="1929384"/>
            <a:chExt cx="3606792" cy="3040344"/>
          </a:xfrm>
        </p:grpSpPr>
        <p:sp>
          <p:nvSpPr>
            <p:cNvPr id="8" name="Oval 7"/>
            <p:cNvSpPr/>
            <p:nvPr/>
          </p:nvSpPr>
          <p:spPr>
            <a:xfrm>
              <a:off x="466344" y="2112264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r>
                <a:rPr lang="en-GB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9" name="Oval 8"/>
            <p:cNvSpPr/>
            <p:nvPr/>
          </p:nvSpPr>
          <p:spPr>
            <a:xfrm>
              <a:off x="936408" y="2112264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r>
                <a:rPr lang="en-GB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0" name="Oval 9"/>
            <p:cNvSpPr/>
            <p:nvPr/>
          </p:nvSpPr>
          <p:spPr>
            <a:xfrm>
              <a:off x="1399704" y="2112264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dirty="0">
                <a:solidFill>
                  <a:schemeClr val="tx1"/>
                </a:solidFill>
              </a:endParaRPr>
            </a:p>
          </p:txBody>
        </p:sp>
        <p:sp>
          <p:nvSpPr>
            <p:cNvPr id="11" name="Oval 10"/>
            <p:cNvSpPr/>
            <p:nvPr/>
          </p:nvSpPr>
          <p:spPr>
            <a:xfrm>
              <a:off x="3710088" y="2112264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r>
                <a:rPr lang="en-GB" sz="1000" dirty="0">
                  <a:solidFill>
                    <a:schemeClr val="tx1"/>
                  </a:solidFill>
                </a:rPr>
                <a:t>N</a:t>
              </a:r>
            </a:p>
          </p:txBody>
        </p:sp>
        <p:sp>
          <p:nvSpPr>
            <p:cNvPr id="12" name="Oval 11"/>
            <p:cNvSpPr/>
            <p:nvPr/>
          </p:nvSpPr>
          <p:spPr>
            <a:xfrm>
              <a:off x="1866384" y="2112264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/>
            <p:cNvSpPr/>
            <p:nvPr/>
          </p:nvSpPr>
          <p:spPr>
            <a:xfrm>
              <a:off x="2320536" y="2112264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dirty="0">
                <a:solidFill>
                  <a:schemeClr val="tx1"/>
                </a:solidFill>
              </a:endParaRPr>
            </a:p>
          </p:txBody>
        </p:sp>
        <p:sp>
          <p:nvSpPr>
            <p:cNvPr id="14" name="Oval 13"/>
            <p:cNvSpPr/>
            <p:nvPr/>
          </p:nvSpPr>
          <p:spPr>
            <a:xfrm>
              <a:off x="2792976" y="2112264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dirty="0">
                <a:solidFill>
                  <a:schemeClr val="tx1"/>
                </a:solidFill>
              </a:endParaRPr>
            </a:p>
          </p:txBody>
        </p:sp>
        <p:sp>
          <p:nvSpPr>
            <p:cNvPr id="15" name="Oval 14"/>
            <p:cNvSpPr/>
            <p:nvPr/>
          </p:nvSpPr>
          <p:spPr>
            <a:xfrm>
              <a:off x="3256272" y="2112264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dirty="0">
                <a:solidFill>
                  <a:schemeClr val="tx1"/>
                </a:solidFill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463296" y="4413504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r>
                <a:rPr lang="en-GB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7" name="Oval 16"/>
            <p:cNvSpPr/>
            <p:nvPr/>
          </p:nvSpPr>
          <p:spPr>
            <a:xfrm>
              <a:off x="933360" y="4413504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r>
                <a:rPr lang="en-GB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8" name="Oval 17"/>
            <p:cNvSpPr/>
            <p:nvPr/>
          </p:nvSpPr>
          <p:spPr>
            <a:xfrm>
              <a:off x="1396656" y="4413504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dirty="0">
                <a:solidFill>
                  <a:schemeClr val="tx1"/>
                </a:solidFill>
              </a:endParaRPr>
            </a:p>
          </p:txBody>
        </p:sp>
        <p:sp>
          <p:nvSpPr>
            <p:cNvPr id="19" name="Oval 18"/>
            <p:cNvSpPr/>
            <p:nvPr/>
          </p:nvSpPr>
          <p:spPr>
            <a:xfrm>
              <a:off x="3707040" y="4413504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r>
                <a:rPr lang="en-GB" sz="1000" dirty="0">
                  <a:solidFill>
                    <a:schemeClr val="tx1"/>
                  </a:solidFill>
                </a:rPr>
                <a:t>M</a:t>
              </a:r>
            </a:p>
          </p:txBody>
        </p:sp>
        <p:sp>
          <p:nvSpPr>
            <p:cNvPr id="20" name="Oval 19"/>
            <p:cNvSpPr/>
            <p:nvPr/>
          </p:nvSpPr>
          <p:spPr>
            <a:xfrm>
              <a:off x="1863336" y="4413504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dirty="0">
                <a:solidFill>
                  <a:schemeClr val="tx1"/>
                </a:solidFill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2317488" y="4413504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dirty="0">
                <a:solidFill>
                  <a:schemeClr val="tx1"/>
                </a:solidFill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789928" y="4413504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dirty="0">
                <a:solidFill>
                  <a:schemeClr val="tx1"/>
                </a:solidFill>
              </a:endParaRPr>
            </a:p>
          </p:txBody>
        </p:sp>
        <p:sp>
          <p:nvSpPr>
            <p:cNvPr id="23" name="Oval 22"/>
            <p:cNvSpPr/>
            <p:nvPr/>
          </p:nvSpPr>
          <p:spPr>
            <a:xfrm>
              <a:off x="3253224" y="4413504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dirty="0">
                <a:solidFill>
                  <a:schemeClr val="tx1"/>
                </a:solidFill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1604858" y="1929384"/>
              <a:ext cx="1348126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1000" dirty="0"/>
                <a:t>Providers of information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1542467" y="4815840"/>
              <a:ext cx="1461939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1000" dirty="0"/>
                <a:t>Consumers of information</a:t>
              </a:r>
            </a:p>
          </p:txBody>
        </p:sp>
        <p:cxnSp>
          <p:nvCxnSpPr>
            <p:cNvPr id="27" name="Straight Connector 26"/>
            <p:cNvCxnSpPr>
              <a:stCxn id="8" idx="4"/>
              <a:endCxn id="16" idx="0"/>
            </p:cNvCxnSpPr>
            <p:nvPr/>
          </p:nvCxnSpPr>
          <p:spPr>
            <a:xfrm flipH="1">
              <a:off x="643296" y="2472264"/>
              <a:ext cx="3048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>
              <a:stCxn id="8" idx="4"/>
              <a:endCxn id="17" idx="0"/>
            </p:cNvCxnSpPr>
            <p:nvPr/>
          </p:nvCxnSpPr>
          <p:spPr>
            <a:xfrm>
              <a:off x="646344" y="2472264"/>
              <a:ext cx="467016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>
              <a:stCxn id="8" idx="4"/>
              <a:endCxn id="18" idx="0"/>
            </p:cNvCxnSpPr>
            <p:nvPr/>
          </p:nvCxnSpPr>
          <p:spPr>
            <a:xfrm>
              <a:off x="646344" y="2472264"/>
              <a:ext cx="930312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>
              <a:stCxn id="8" idx="4"/>
              <a:endCxn id="20" idx="0"/>
            </p:cNvCxnSpPr>
            <p:nvPr/>
          </p:nvCxnSpPr>
          <p:spPr>
            <a:xfrm>
              <a:off x="646344" y="2472264"/>
              <a:ext cx="1396992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>
              <a:stCxn id="8" idx="4"/>
              <a:endCxn id="21" idx="0"/>
            </p:cNvCxnSpPr>
            <p:nvPr/>
          </p:nvCxnSpPr>
          <p:spPr>
            <a:xfrm>
              <a:off x="646344" y="2472264"/>
              <a:ext cx="1851144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>
              <a:stCxn id="8" idx="4"/>
              <a:endCxn id="22" idx="0"/>
            </p:cNvCxnSpPr>
            <p:nvPr/>
          </p:nvCxnSpPr>
          <p:spPr>
            <a:xfrm>
              <a:off x="646344" y="2472264"/>
              <a:ext cx="2323584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>
              <a:stCxn id="8" idx="4"/>
              <a:endCxn id="23" idx="0"/>
            </p:cNvCxnSpPr>
            <p:nvPr/>
          </p:nvCxnSpPr>
          <p:spPr>
            <a:xfrm>
              <a:off x="646344" y="2472264"/>
              <a:ext cx="2786880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>
              <a:stCxn id="8" idx="4"/>
              <a:endCxn id="19" idx="0"/>
            </p:cNvCxnSpPr>
            <p:nvPr/>
          </p:nvCxnSpPr>
          <p:spPr>
            <a:xfrm>
              <a:off x="646344" y="2472264"/>
              <a:ext cx="3240696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>
              <a:stCxn id="9" idx="4"/>
              <a:endCxn id="16" idx="0"/>
            </p:cNvCxnSpPr>
            <p:nvPr/>
          </p:nvCxnSpPr>
          <p:spPr>
            <a:xfrm flipH="1">
              <a:off x="643296" y="2472264"/>
              <a:ext cx="473112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>
              <a:stCxn id="9" idx="4"/>
              <a:endCxn id="17" idx="0"/>
            </p:cNvCxnSpPr>
            <p:nvPr/>
          </p:nvCxnSpPr>
          <p:spPr>
            <a:xfrm flipH="1">
              <a:off x="1113360" y="2472264"/>
              <a:ext cx="3048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>
              <a:stCxn id="9" idx="4"/>
              <a:endCxn id="18" idx="0"/>
            </p:cNvCxnSpPr>
            <p:nvPr/>
          </p:nvCxnSpPr>
          <p:spPr>
            <a:xfrm>
              <a:off x="1116408" y="2472264"/>
              <a:ext cx="460248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>
              <a:stCxn id="9" idx="4"/>
              <a:endCxn id="20" idx="0"/>
            </p:cNvCxnSpPr>
            <p:nvPr/>
          </p:nvCxnSpPr>
          <p:spPr>
            <a:xfrm>
              <a:off x="1116408" y="2472264"/>
              <a:ext cx="926928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/>
            <p:cNvCxnSpPr>
              <a:stCxn id="9" idx="4"/>
              <a:endCxn id="21" idx="0"/>
            </p:cNvCxnSpPr>
            <p:nvPr/>
          </p:nvCxnSpPr>
          <p:spPr>
            <a:xfrm>
              <a:off x="1116408" y="2472264"/>
              <a:ext cx="1381080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/>
            <p:cNvCxnSpPr>
              <a:stCxn id="9" idx="4"/>
              <a:endCxn id="22" idx="0"/>
            </p:cNvCxnSpPr>
            <p:nvPr/>
          </p:nvCxnSpPr>
          <p:spPr>
            <a:xfrm>
              <a:off x="1116408" y="2472264"/>
              <a:ext cx="1853520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>
              <a:stCxn id="9" idx="4"/>
              <a:endCxn id="23" idx="0"/>
            </p:cNvCxnSpPr>
            <p:nvPr/>
          </p:nvCxnSpPr>
          <p:spPr>
            <a:xfrm>
              <a:off x="1116408" y="2472264"/>
              <a:ext cx="2316816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/>
            <p:cNvCxnSpPr>
              <a:stCxn id="9" idx="4"/>
              <a:endCxn id="19" idx="0"/>
            </p:cNvCxnSpPr>
            <p:nvPr/>
          </p:nvCxnSpPr>
          <p:spPr>
            <a:xfrm>
              <a:off x="1116408" y="2472264"/>
              <a:ext cx="2770632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/>
            <p:cNvCxnSpPr>
              <a:stCxn id="10" idx="4"/>
              <a:endCxn id="16" idx="0"/>
            </p:cNvCxnSpPr>
            <p:nvPr/>
          </p:nvCxnSpPr>
          <p:spPr>
            <a:xfrm flipH="1">
              <a:off x="643296" y="2472264"/>
              <a:ext cx="936408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/>
            <p:cNvCxnSpPr>
              <a:stCxn id="10" idx="4"/>
              <a:endCxn id="17" idx="0"/>
            </p:cNvCxnSpPr>
            <p:nvPr/>
          </p:nvCxnSpPr>
          <p:spPr>
            <a:xfrm flipH="1">
              <a:off x="1113360" y="2472264"/>
              <a:ext cx="466344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/>
            <p:cNvCxnSpPr>
              <a:stCxn id="10" idx="4"/>
              <a:endCxn id="18" idx="0"/>
            </p:cNvCxnSpPr>
            <p:nvPr/>
          </p:nvCxnSpPr>
          <p:spPr>
            <a:xfrm flipH="1">
              <a:off x="1576656" y="2472264"/>
              <a:ext cx="3048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/>
            <p:cNvCxnSpPr>
              <a:stCxn id="10" idx="4"/>
              <a:endCxn id="20" idx="0"/>
            </p:cNvCxnSpPr>
            <p:nvPr/>
          </p:nvCxnSpPr>
          <p:spPr>
            <a:xfrm>
              <a:off x="1579704" y="2472264"/>
              <a:ext cx="463632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/>
            <p:cNvCxnSpPr>
              <a:stCxn id="10" idx="4"/>
              <a:endCxn id="21" idx="0"/>
            </p:cNvCxnSpPr>
            <p:nvPr/>
          </p:nvCxnSpPr>
          <p:spPr>
            <a:xfrm>
              <a:off x="1579704" y="2472264"/>
              <a:ext cx="917784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/>
            <p:cNvCxnSpPr>
              <a:stCxn id="10" idx="4"/>
              <a:endCxn id="22" idx="0"/>
            </p:cNvCxnSpPr>
            <p:nvPr/>
          </p:nvCxnSpPr>
          <p:spPr>
            <a:xfrm>
              <a:off x="1579704" y="2472264"/>
              <a:ext cx="1390224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/>
            <p:cNvCxnSpPr>
              <a:stCxn id="10" idx="4"/>
              <a:endCxn id="23" idx="0"/>
            </p:cNvCxnSpPr>
            <p:nvPr/>
          </p:nvCxnSpPr>
          <p:spPr>
            <a:xfrm>
              <a:off x="1579704" y="2472264"/>
              <a:ext cx="1853520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/>
            <p:cNvCxnSpPr>
              <a:stCxn id="10" idx="4"/>
              <a:endCxn id="19" idx="0"/>
            </p:cNvCxnSpPr>
            <p:nvPr/>
          </p:nvCxnSpPr>
          <p:spPr>
            <a:xfrm>
              <a:off x="1579704" y="2472264"/>
              <a:ext cx="2307336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/>
            <p:cNvCxnSpPr>
              <a:stCxn id="12" idx="4"/>
              <a:endCxn id="19" idx="0"/>
            </p:cNvCxnSpPr>
            <p:nvPr/>
          </p:nvCxnSpPr>
          <p:spPr>
            <a:xfrm>
              <a:off x="2046384" y="2472264"/>
              <a:ext cx="1840656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/>
            <p:cNvCxnSpPr>
              <a:stCxn id="12" idx="4"/>
              <a:endCxn id="23" idx="0"/>
            </p:cNvCxnSpPr>
            <p:nvPr/>
          </p:nvCxnSpPr>
          <p:spPr>
            <a:xfrm>
              <a:off x="2046384" y="2472264"/>
              <a:ext cx="1386840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/>
            <p:cNvCxnSpPr>
              <a:stCxn id="12" idx="4"/>
              <a:endCxn id="22" idx="0"/>
            </p:cNvCxnSpPr>
            <p:nvPr/>
          </p:nvCxnSpPr>
          <p:spPr>
            <a:xfrm>
              <a:off x="2046384" y="2472264"/>
              <a:ext cx="923544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/>
            <p:cNvCxnSpPr>
              <a:stCxn id="12" idx="4"/>
              <a:endCxn id="20" idx="0"/>
            </p:cNvCxnSpPr>
            <p:nvPr/>
          </p:nvCxnSpPr>
          <p:spPr>
            <a:xfrm flipH="1">
              <a:off x="2043336" y="2472264"/>
              <a:ext cx="3048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/>
            <p:cNvCxnSpPr>
              <a:stCxn id="12" idx="4"/>
              <a:endCxn id="21" idx="0"/>
            </p:cNvCxnSpPr>
            <p:nvPr/>
          </p:nvCxnSpPr>
          <p:spPr>
            <a:xfrm>
              <a:off x="2046384" y="2472264"/>
              <a:ext cx="451104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/>
            <p:cNvCxnSpPr>
              <a:stCxn id="12" idx="4"/>
              <a:endCxn id="18" idx="0"/>
            </p:cNvCxnSpPr>
            <p:nvPr/>
          </p:nvCxnSpPr>
          <p:spPr>
            <a:xfrm flipH="1">
              <a:off x="1576656" y="2472264"/>
              <a:ext cx="469728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/>
            <p:cNvCxnSpPr>
              <a:stCxn id="12" idx="4"/>
              <a:endCxn id="17" idx="0"/>
            </p:cNvCxnSpPr>
            <p:nvPr/>
          </p:nvCxnSpPr>
          <p:spPr>
            <a:xfrm flipH="1">
              <a:off x="1113360" y="2472264"/>
              <a:ext cx="933024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/>
            <p:cNvCxnSpPr>
              <a:stCxn id="12" idx="4"/>
              <a:endCxn id="16" idx="0"/>
            </p:cNvCxnSpPr>
            <p:nvPr/>
          </p:nvCxnSpPr>
          <p:spPr>
            <a:xfrm flipH="1">
              <a:off x="643296" y="2472264"/>
              <a:ext cx="1403088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/>
            <p:cNvCxnSpPr>
              <a:stCxn id="13" idx="4"/>
              <a:endCxn id="16" idx="0"/>
            </p:cNvCxnSpPr>
            <p:nvPr/>
          </p:nvCxnSpPr>
          <p:spPr>
            <a:xfrm flipH="1">
              <a:off x="643296" y="2472264"/>
              <a:ext cx="1857240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/>
            <p:cNvCxnSpPr>
              <a:stCxn id="13" idx="4"/>
              <a:endCxn id="17" idx="0"/>
            </p:cNvCxnSpPr>
            <p:nvPr/>
          </p:nvCxnSpPr>
          <p:spPr>
            <a:xfrm flipH="1">
              <a:off x="1113360" y="2472264"/>
              <a:ext cx="1387176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/>
            <p:cNvCxnSpPr>
              <a:stCxn id="13" idx="4"/>
              <a:endCxn id="18" idx="0"/>
            </p:cNvCxnSpPr>
            <p:nvPr/>
          </p:nvCxnSpPr>
          <p:spPr>
            <a:xfrm flipH="1">
              <a:off x="1576656" y="2472264"/>
              <a:ext cx="923880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/>
            <p:cNvCxnSpPr>
              <a:stCxn id="13" idx="4"/>
              <a:endCxn id="20" idx="0"/>
            </p:cNvCxnSpPr>
            <p:nvPr/>
          </p:nvCxnSpPr>
          <p:spPr>
            <a:xfrm flipH="1">
              <a:off x="2043336" y="2472264"/>
              <a:ext cx="457200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/>
            <p:cNvCxnSpPr>
              <a:stCxn id="13" idx="4"/>
              <a:endCxn id="21" idx="0"/>
            </p:cNvCxnSpPr>
            <p:nvPr/>
          </p:nvCxnSpPr>
          <p:spPr>
            <a:xfrm flipH="1">
              <a:off x="2497488" y="2472264"/>
              <a:ext cx="3048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/>
            <p:cNvCxnSpPr>
              <a:stCxn id="13" idx="4"/>
              <a:endCxn id="22" idx="0"/>
            </p:cNvCxnSpPr>
            <p:nvPr/>
          </p:nvCxnSpPr>
          <p:spPr>
            <a:xfrm>
              <a:off x="2500536" y="2472264"/>
              <a:ext cx="469392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/>
            <p:cNvCxnSpPr>
              <a:stCxn id="13" idx="4"/>
              <a:endCxn id="23" idx="0"/>
            </p:cNvCxnSpPr>
            <p:nvPr/>
          </p:nvCxnSpPr>
          <p:spPr>
            <a:xfrm>
              <a:off x="2500536" y="2472264"/>
              <a:ext cx="932688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Straight Connector 144"/>
            <p:cNvCxnSpPr>
              <a:stCxn id="13" idx="4"/>
              <a:endCxn id="19" idx="0"/>
            </p:cNvCxnSpPr>
            <p:nvPr/>
          </p:nvCxnSpPr>
          <p:spPr>
            <a:xfrm>
              <a:off x="2500536" y="2472264"/>
              <a:ext cx="1386504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8" name="Straight Connector 147"/>
            <p:cNvCxnSpPr>
              <a:stCxn id="14" idx="4"/>
              <a:endCxn id="19" idx="0"/>
            </p:cNvCxnSpPr>
            <p:nvPr/>
          </p:nvCxnSpPr>
          <p:spPr>
            <a:xfrm>
              <a:off x="2972976" y="2472264"/>
              <a:ext cx="914064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Connector 150"/>
            <p:cNvCxnSpPr>
              <a:stCxn id="14" idx="4"/>
              <a:endCxn id="23" idx="0"/>
            </p:cNvCxnSpPr>
            <p:nvPr/>
          </p:nvCxnSpPr>
          <p:spPr>
            <a:xfrm>
              <a:off x="2972976" y="2472264"/>
              <a:ext cx="460248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Straight Connector 153"/>
            <p:cNvCxnSpPr>
              <a:stCxn id="14" idx="4"/>
              <a:endCxn id="22" idx="0"/>
            </p:cNvCxnSpPr>
            <p:nvPr/>
          </p:nvCxnSpPr>
          <p:spPr>
            <a:xfrm flipH="1">
              <a:off x="2969928" y="2472264"/>
              <a:ext cx="3048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Straight Connector 156"/>
            <p:cNvCxnSpPr>
              <a:stCxn id="14" idx="4"/>
              <a:endCxn id="21" idx="0"/>
            </p:cNvCxnSpPr>
            <p:nvPr/>
          </p:nvCxnSpPr>
          <p:spPr>
            <a:xfrm flipH="1">
              <a:off x="2497488" y="2472264"/>
              <a:ext cx="475488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159"/>
            <p:cNvCxnSpPr>
              <a:stCxn id="14" idx="4"/>
              <a:endCxn id="20" idx="0"/>
            </p:cNvCxnSpPr>
            <p:nvPr/>
          </p:nvCxnSpPr>
          <p:spPr>
            <a:xfrm flipH="1">
              <a:off x="2043336" y="2472264"/>
              <a:ext cx="929640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Connector 162"/>
            <p:cNvCxnSpPr>
              <a:stCxn id="14" idx="4"/>
              <a:endCxn id="18" idx="0"/>
            </p:cNvCxnSpPr>
            <p:nvPr/>
          </p:nvCxnSpPr>
          <p:spPr>
            <a:xfrm flipH="1">
              <a:off x="1576656" y="2472264"/>
              <a:ext cx="1396320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Straight Connector 165"/>
            <p:cNvCxnSpPr>
              <a:stCxn id="14" idx="4"/>
              <a:endCxn id="17" idx="0"/>
            </p:cNvCxnSpPr>
            <p:nvPr/>
          </p:nvCxnSpPr>
          <p:spPr>
            <a:xfrm flipH="1">
              <a:off x="1113360" y="2472264"/>
              <a:ext cx="1859616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Straight Connector 168"/>
            <p:cNvCxnSpPr>
              <a:stCxn id="14" idx="4"/>
              <a:endCxn id="16" idx="0"/>
            </p:cNvCxnSpPr>
            <p:nvPr/>
          </p:nvCxnSpPr>
          <p:spPr>
            <a:xfrm flipH="1">
              <a:off x="643296" y="2472264"/>
              <a:ext cx="2329680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171"/>
            <p:cNvCxnSpPr>
              <a:stCxn id="15" idx="4"/>
              <a:endCxn id="16" idx="0"/>
            </p:cNvCxnSpPr>
            <p:nvPr/>
          </p:nvCxnSpPr>
          <p:spPr>
            <a:xfrm flipH="1">
              <a:off x="643296" y="2472264"/>
              <a:ext cx="2792976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/>
            <p:cNvCxnSpPr>
              <a:stCxn id="15" idx="4"/>
              <a:endCxn id="17" idx="0"/>
            </p:cNvCxnSpPr>
            <p:nvPr/>
          </p:nvCxnSpPr>
          <p:spPr>
            <a:xfrm flipH="1">
              <a:off x="1113360" y="2472264"/>
              <a:ext cx="2322912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/>
            <p:cNvCxnSpPr>
              <a:stCxn id="15" idx="4"/>
              <a:endCxn id="18" idx="0"/>
            </p:cNvCxnSpPr>
            <p:nvPr/>
          </p:nvCxnSpPr>
          <p:spPr>
            <a:xfrm flipH="1">
              <a:off x="1576656" y="2472264"/>
              <a:ext cx="1859616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Straight Connector 180"/>
            <p:cNvCxnSpPr>
              <a:stCxn id="15" idx="4"/>
              <a:endCxn id="20" idx="0"/>
            </p:cNvCxnSpPr>
            <p:nvPr/>
          </p:nvCxnSpPr>
          <p:spPr>
            <a:xfrm flipH="1">
              <a:off x="2043336" y="2472264"/>
              <a:ext cx="1392936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Straight Connector 183"/>
            <p:cNvCxnSpPr>
              <a:stCxn id="15" idx="4"/>
              <a:endCxn id="21" idx="0"/>
            </p:cNvCxnSpPr>
            <p:nvPr/>
          </p:nvCxnSpPr>
          <p:spPr>
            <a:xfrm flipH="1">
              <a:off x="2497488" y="2472264"/>
              <a:ext cx="938784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Straight Connector 186"/>
            <p:cNvCxnSpPr>
              <a:stCxn id="15" idx="4"/>
              <a:endCxn id="22" idx="0"/>
            </p:cNvCxnSpPr>
            <p:nvPr/>
          </p:nvCxnSpPr>
          <p:spPr>
            <a:xfrm flipH="1">
              <a:off x="2969928" y="2472264"/>
              <a:ext cx="466344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0" name="Straight Connector 189"/>
            <p:cNvCxnSpPr>
              <a:stCxn id="15" idx="4"/>
              <a:endCxn id="23" idx="0"/>
            </p:cNvCxnSpPr>
            <p:nvPr/>
          </p:nvCxnSpPr>
          <p:spPr>
            <a:xfrm flipH="1">
              <a:off x="3433224" y="2472264"/>
              <a:ext cx="3048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Straight Connector 192"/>
            <p:cNvCxnSpPr>
              <a:stCxn id="15" idx="4"/>
              <a:endCxn id="19" idx="0"/>
            </p:cNvCxnSpPr>
            <p:nvPr/>
          </p:nvCxnSpPr>
          <p:spPr>
            <a:xfrm>
              <a:off x="3436272" y="2472264"/>
              <a:ext cx="450768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6" name="Straight Connector 195"/>
            <p:cNvCxnSpPr>
              <a:stCxn id="11" idx="4"/>
              <a:endCxn id="19" idx="0"/>
            </p:cNvCxnSpPr>
            <p:nvPr/>
          </p:nvCxnSpPr>
          <p:spPr>
            <a:xfrm flipH="1">
              <a:off x="3887040" y="2472264"/>
              <a:ext cx="3048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Straight Connector 198"/>
            <p:cNvCxnSpPr>
              <a:stCxn id="11" idx="4"/>
              <a:endCxn id="23" idx="0"/>
            </p:cNvCxnSpPr>
            <p:nvPr/>
          </p:nvCxnSpPr>
          <p:spPr>
            <a:xfrm flipH="1">
              <a:off x="3433224" y="2472264"/>
              <a:ext cx="456864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Straight Connector 201"/>
            <p:cNvCxnSpPr>
              <a:stCxn id="11" idx="4"/>
              <a:endCxn id="22" idx="0"/>
            </p:cNvCxnSpPr>
            <p:nvPr/>
          </p:nvCxnSpPr>
          <p:spPr>
            <a:xfrm flipH="1">
              <a:off x="2969928" y="2472264"/>
              <a:ext cx="920160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5" name="Straight Connector 204"/>
            <p:cNvCxnSpPr>
              <a:stCxn id="11" idx="4"/>
              <a:endCxn id="21" idx="0"/>
            </p:cNvCxnSpPr>
            <p:nvPr/>
          </p:nvCxnSpPr>
          <p:spPr>
            <a:xfrm flipH="1">
              <a:off x="2497488" y="2472264"/>
              <a:ext cx="1392600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/>
            <p:cNvCxnSpPr>
              <a:stCxn id="11" idx="4"/>
              <a:endCxn id="20" idx="0"/>
            </p:cNvCxnSpPr>
            <p:nvPr/>
          </p:nvCxnSpPr>
          <p:spPr>
            <a:xfrm flipH="1">
              <a:off x="2043336" y="2472264"/>
              <a:ext cx="1846752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/>
            <p:cNvCxnSpPr>
              <a:stCxn id="11" idx="4"/>
              <a:endCxn id="18" idx="0"/>
            </p:cNvCxnSpPr>
            <p:nvPr/>
          </p:nvCxnSpPr>
          <p:spPr>
            <a:xfrm flipH="1">
              <a:off x="1576656" y="2472264"/>
              <a:ext cx="2313432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/>
            <p:cNvCxnSpPr>
              <a:stCxn id="11" idx="4"/>
              <a:endCxn id="17" idx="0"/>
            </p:cNvCxnSpPr>
            <p:nvPr/>
          </p:nvCxnSpPr>
          <p:spPr>
            <a:xfrm flipH="1">
              <a:off x="1113360" y="2472264"/>
              <a:ext cx="2776728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Straight Connector 216"/>
            <p:cNvCxnSpPr>
              <a:stCxn id="11" idx="4"/>
              <a:endCxn id="16" idx="0"/>
            </p:cNvCxnSpPr>
            <p:nvPr/>
          </p:nvCxnSpPr>
          <p:spPr>
            <a:xfrm flipH="1">
              <a:off x="643296" y="2472264"/>
              <a:ext cx="3246792" cy="1941240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234787C0-6281-4E20-A71D-323366207FE5}"/>
              </a:ext>
            </a:extLst>
          </p:cNvPr>
          <p:cNvGrpSpPr/>
          <p:nvPr/>
        </p:nvGrpSpPr>
        <p:grpSpPr>
          <a:xfrm>
            <a:off x="5317752" y="1629837"/>
            <a:ext cx="3606792" cy="3041832"/>
            <a:chOff x="5317752" y="2065773"/>
            <a:chExt cx="3606792" cy="3041832"/>
          </a:xfrm>
        </p:grpSpPr>
        <p:sp>
          <p:nvSpPr>
            <p:cNvPr id="222" name="Oval 221"/>
            <p:cNvSpPr/>
            <p:nvPr/>
          </p:nvSpPr>
          <p:spPr>
            <a:xfrm>
              <a:off x="5320800" y="2248653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r>
                <a:rPr lang="en-GB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23" name="Oval 222"/>
            <p:cNvSpPr/>
            <p:nvPr/>
          </p:nvSpPr>
          <p:spPr>
            <a:xfrm>
              <a:off x="5790864" y="2248653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r>
                <a:rPr lang="en-GB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24" name="Oval 223"/>
            <p:cNvSpPr/>
            <p:nvPr/>
          </p:nvSpPr>
          <p:spPr>
            <a:xfrm>
              <a:off x="6254160" y="2248653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dirty="0">
                <a:solidFill>
                  <a:schemeClr val="tx1"/>
                </a:solidFill>
              </a:endParaRPr>
            </a:p>
          </p:txBody>
        </p:sp>
        <p:sp>
          <p:nvSpPr>
            <p:cNvPr id="225" name="Oval 224"/>
            <p:cNvSpPr/>
            <p:nvPr/>
          </p:nvSpPr>
          <p:spPr>
            <a:xfrm>
              <a:off x="8564544" y="2248653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r>
                <a:rPr lang="en-GB" sz="1000" dirty="0">
                  <a:solidFill>
                    <a:schemeClr val="tx1"/>
                  </a:solidFill>
                </a:rPr>
                <a:t>N</a:t>
              </a:r>
            </a:p>
          </p:txBody>
        </p:sp>
        <p:sp>
          <p:nvSpPr>
            <p:cNvPr id="226" name="Oval 225"/>
            <p:cNvSpPr/>
            <p:nvPr/>
          </p:nvSpPr>
          <p:spPr>
            <a:xfrm>
              <a:off x="6720840" y="2248653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dirty="0">
                <a:solidFill>
                  <a:schemeClr val="tx1"/>
                </a:solidFill>
              </a:endParaRPr>
            </a:p>
          </p:txBody>
        </p:sp>
        <p:sp>
          <p:nvSpPr>
            <p:cNvPr id="227" name="Oval 226"/>
            <p:cNvSpPr/>
            <p:nvPr/>
          </p:nvSpPr>
          <p:spPr>
            <a:xfrm>
              <a:off x="7174992" y="2248653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dirty="0">
                <a:solidFill>
                  <a:schemeClr val="tx1"/>
                </a:solidFill>
              </a:endParaRPr>
            </a:p>
          </p:txBody>
        </p:sp>
        <p:sp>
          <p:nvSpPr>
            <p:cNvPr id="228" name="Oval 227"/>
            <p:cNvSpPr/>
            <p:nvPr/>
          </p:nvSpPr>
          <p:spPr>
            <a:xfrm>
              <a:off x="7647432" y="2248653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dirty="0">
                <a:solidFill>
                  <a:schemeClr val="tx1"/>
                </a:solidFill>
              </a:endParaRPr>
            </a:p>
          </p:txBody>
        </p:sp>
        <p:sp>
          <p:nvSpPr>
            <p:cNvPr id="229" name="Oval 228"/>
            <p:cNvSpPr/>
            <p:nvPr/>
          </p:nvSpPr>
          <p:spPr>
            <a:xfrm>
              <a:off x="8110728" y="2248653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dirty="0">
                <a:solidFill>
                  <a:schemeClr val="tx1"/>
                </a:solidFill>
              </a:endParaRPr>
            </a:p>
          </p:txBody>
        </p:sp>
        <p:sp>
          <p:nvSpPr>
            <p:cNvPr id="230" name="Oval 229"/>
            <p:cNvSpPr/>
            <p:nvPr/>
          </p:nvSpPr>
          <p:spPr>
            <a:xfrm>
              <a:off x="5317752" y="4549893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r>
                <a:rPr lang="en-GB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31" name="Oval 230"/>
            <p:cNvSpPr/>
            <p:nvPr/>
          </p:nvSpPr>
          <p:spPr>
            <a:xfrm>
              <a:off x="5787816" y="4549893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r>
                <a:rPr lang="en-GB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32" name="Oval 231"/>
            <p:cNvSpPr/>
            <p:nvPr/>
          </p:nvSpPr>
          <p:spPr>
            <a:xfrm>
              <a:off x="6251112" y="4549893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dirty="0">
                <a:solidFill>
                  <a:schemeClr val="tx1"/>
                </a:solidFill>
              </a:endParaRPr>
            </a:p>
          </p:txBody>
        </p:sp>
        <p:sp>
          <p:nvSpPr>
            <p:cNvPr id="233" name="Oval 232"/>
            <p:cNvSpPr/>
            <p:nvPr/>
          </p:nvSpPr>
          <p:spPr>
            <a:xfrm>
              <a:off x="8561496" y="4549893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r>
                <a:rPr lang="en-GB" sz="1000" dirty="0">
                  <a:solidFill>
                    <a:schemeClr val="tx1"/>
                  </a:solidFill>
                </a:rPr>
                <a:t>M</a:t>
              </a:r>
            </a:p>
          </p:txBody>
        </p:sp>
        <p:sp>
          <p:nvSpPr>
            <p:cNvPr id="234" name="Oval 233"/>
            <p:cNvSpPr/>
            <p:nvPr/>
          </p:nvSpPr>
          <p:spPr>
            <a:xfrm>
              <a:off x="6717792" y="4549893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dirty="0">
                <a:solidFill>
                  <a:schemeClr val="tx1"/>
                </a:solidFill>
              </a:endParaRPr>
            </a:p>
          </p:txBody>
        </p:sp>
        <p:sp>
          <p:nvSpPr>
            <p:cNvPr id="235" name="Oval 234"/>
            <p:cNvSpPr/>
            <p:nvPr/>
          </p:nvSpPr>
          <p:spPr>
            <a:xfrm>
              <a:off x="7171944" y="4549893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dirty="0">
                <a:solidFill>
                  <a:schemeClr val="tx1"/>
                </a:solidFill>
              </a:endParaRPr>
            </a:p>
          </p:txBody>
        </p:sp>
        <p:sp>
          <p:nvSpPr>
            <p:cNvPr id="236" name="Oval 235"/>
            <p:cNvSpPr/>
            <p:nvPr/>
          </p:nvSpPr>
          <p:spPr>
            <a:xfrm>
              <a:off x="7644384" y="4549893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dirty="0">
                <a:solidFill>
                  <a:schemeClr val="tx1"/>
                </a:solidFill>
              </a:endParaRPr>
            </a:p>
          </p:txBody>
        </p:sp>
        <p:sp>
          <p:nvSpPr>
            <p:cNvPr id="237" name="Oval 236"/>
            <p:cNvSpPr/>
            <p:nvPr/>
          </p:nvSpPr>
          <p:spPr>
            <a:xfrm>
              <a:off x="8107680" y="4549893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dirty="0">
                <a:solidFill>
                  <a:schemeClr val="tx1"/>
                </a:solidFill>
              </a:endParaRPr>
            </a:p>
          </p:txBody>
        </p:sp>
        <p:sp>
          <p:nvSpPr>
            <p:cNvPr id="238" name="TextBox 237"/>
            <p:cNvSpPr txBox="1"/>
            <p:nvPr/>
          </p:nvSpPr>
          <p:spPr>
            <a:xfrm>
              <a:off x="6458532" y="2065773"/>
              <a:ext cx="1348126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1000" dirty="0"/>
                <a:t>Providers of information</a:t>
              </a:r>
            </a:p>
          </p:txBody>
        </p:sp>
        <p:sp>
          <p:nvSpPr>
            <p:cNvPr id="239" name="TextBox 238"/>
            <p:cNvSpPr txBox="1"/>
            <p:nvPr/>
          </p:nvSpPr>
          <p:spPr>
            <a:xfrm>
              <a:off x="6396141" y="4953717"/>
              <a:ext cx="1461939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1000" dirty="0"/>
                <a:t>Consumers of information</a:t>
              </a:r>
            </a:p>
          </p:txBody>
        </p:sp>
        <p:cxnSp>
          <p:nvCxnSpPr>
            <p:cNvPr id="240" name="Straight Connector 239"/>
            <p:cNvCxnSpPr>
              <a:cxnSpLocks/>
              <a:stCxn id="222" idx="4"/>
            </p:cNvCxnSpPr>
            <p:nvPr/>
          </p:nvCxnSpPr>
          <p:spPr>
            <a:xfrm>
              <a:off x="5500800" y="2608653"/>
              <a:ext cx="1631795" cy="777396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Straight Connector 242"/>
            <p:cNvCxnSpPr>
              <a:cxnSpLocks/>
              <a:stCxn id="223" idx="4"/>
            </p:cNvCxnSpPr>
            <p:nvPr/>
          </p:nvCxnSpPr>
          <p:spPr>
            <a:xfrm>
              <a:off x="5970864" y="2608653"/>
              <a:ext cx="1161731" cy="777396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6" name="Straight Connector 245"/>
            <p:cNvCxnSpPr>
              <a:cxnSpLocks/>
              <a:stCxn id="224" idx="4"/>
            </p:cNvCxnSpPr>
            <p:nvPr/>
          </p:nvCxnSpPr>
          <p:spPr>
            <a:xfrm>
              <a:off x="6434160" y="2608653"/>
              <a:ext cx="698435" cy="777396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Straight Connector 250"/>
            <p:cNvCxnSpPr>
              <a:cxnSpLocks/>
              <a:stCxn id="226" idx="4"/>
            </p:cNvCxnSpPr>
            <p:nvPr/>
          </p:nvCxnSpPr>
          <p:spPr>
            <a:xfrm>
              <a:off x="6900840" y="2608653"/>
              <a:ext cx="231755" cy="777396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Straight Connector 253"/>
            <p:cNvCxnSpPr>
              <a:cxnSpLocks/>
              <a:stCxn id="227" idx="4"/>
            </p:cNvCxnSpPr>
            <p:nvPr/>
          </p:nvCxnSpPr>
          <p:spPr>
            <a:xfrm flipH="1">
              <a:off x="7132595" y="2608653"/>
              <a:ext cx="222397" cy="777396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Straight Connector 256"/>
            <p:cNvCxnSpPr>
              <a:cxnSpLocks/>
              <a:stCxn id="228" idx="4"/>
            </p:cNvCxnSpPr>
            <p:nvPr/>
          </p:nvCxnSpPr>
          <p:spPr>
            <a:xfrm flipH="1">
              <a:off x="7132595" y="2608653"/>
              <a:ext cx="694837" cy="777396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Straight Connector 259"/>
            <p:cNvCxnSpPr>
              <a:cxnSpLocks/>
              <a:stCxn id="229" idx="4"/>
            </p:cNvCxnSpPr>
            <p:nvPr/>
          </p:nvCxnSpPr>
          <p:spPr>
            <a:xfrm flipH="1">
              <a:off x="7132595" y="2608653"/>
              <a:ext cx="1158133" cy="777396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3" name="Straight Connector 262"/>
            <p:cNvCxnSpPr>
              <a:cxnSpLocks/>
              <a:stCxn id="225" idx="4"/>
            </p:cNvCxnSpPr>
            <p:nvPr/>
          </p:nvCxnSpPr>
          <p:spPr>
            <a:xfrm flipH="1">
              <a:off x="7132595" y="2608653"/>
              <a:ext cx="1611949" cy="777396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6" name="Straight Connector 265"/>
            <p:cNvCxnSpPr>
              <a:cxnSpLocks/>
              <a:stCxn id="233" idx="0"/>
            </p:cNvCxnSpPr>
            <p:nvPr/>
          </p:nvCxnSpPr>
          <p:spPr>
            <a:xfrm flipH="1" flipV="1">
              <a:off x="7132595" y="3838679"/>
              <a:ext cx="1608901" cy="711214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9" name="Straight Connector 268"/>
            <p:cNvCxnSpPr>
              <a:cxnSpLocks/>
              <a:stCxn id="237" idx="0"/>
            </p:cNvCxnSpPr>
            <p:nvPr/>
          </p:nvCxnSpPr>
          <p:spPr>
            <a:xfrm flipH="1" flipV="1">
              <a:off x="7132595" y="3838679"/>
              <a:ext cx="1155085" cy="711214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2" name="Straight Connector 271"/>
            <p:cNvCxnSpPr>
              <a:cxnSpLocks/>
              <a:stCxn id="236" idx="0"/>
            </p:cNvCxnSpPr>
            <p:nvPr/>
          </p:nvCxnSpPr>
          <p:spPr>
            <a:xfrm flipH="1" flipV="1">
              <a:off x="7132595" y="3838679"/>
              <a:ext cx="691789" cy="711214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5" name="Straight Connector 274"/>
            <p:cNvCxnSpPr>
              <a:cxnSpLocks/>
              <a:stCxn id="235" idx="0"/>
            </p:cNvCxnSpPr>
            <p:nvPr/>
          </p:nvCxnSpPr>
          <p:spPr>
            <a:xfrm flipH="1" flipV="1">
              <a:off x="7132595" y="3838679"/>
              <a:ext cx="219349" cy="711214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8" name="Straight Connector 277"/>
            <p:cNvCxnSpPr>
              <a:cxnSpLocks/>
              <a:stCxn id="234" idx="0"/>
            </p:cNvCxnSpPr>
            <p:nvPr/>
          </p:nvCxnSpPr>
          <p:spPr>
            <a:xfrm flipV="1">
              <a:off x="6897792" y="3838679"/>
              <a:ext cx="234803" cy="711214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1" name="Straight Connector 280"/>
            <p:cNvCxnSpPr>
              <a:cxnSpLocks/>
              <a:stCxn id="232" idx="0"/>
            </p:cNvCxnSpPr>
            <p:nvPr/>
          </p:nvCxnSpPr>
          <p:spPr>
            <a:xfrm flipV="1">
              <a:off x="6431112" y="3838679"/>
              <a:ext cx="701483" cy="711214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4" name="Straight Connector 283"/>
            <p:cNvCxnSpPr>
              <a:cxnSpLocks/>
              <a:stCxn id="231" idx="0"/>
            </p:cNvCxnSpPr>
            <p:nvPr/>
          </p:nvCxnSpPr>
          <p:spPr>
            <a:xfrm flipV="1">
              <a:off x="5967816" y="3838679"/>
              <a:ext cx="1164779" cy="711214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7" name="Straight Connector 286"/>
            <p:cNvCxnSpPr>
              <a:cxnSpLocks/>
              <a:stCxn id="230" idx="0"/>
            </p:cNvCxnSpPr>
            <p:nvPr/>
          </p:nvCxnSpPr>
          <p:spPr>
            <a:xfrm flipV="1">
              <a:off x="5497752" y="3838679"/>
              <a:ext cx="1634843" cy="711214"/>
            </a:xfrm>
            <a:prstGeom prst="line">
              <a:avLst/>
            </a:prstGeom>
            <a:ln w="9525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itle 4">
            <a:extLst>
              <a:ext uri="{FF2B5EF4-FFF2-40B4-BE49-F238E27FC236}">
                <a16:creationId xmlns:a16="http://schemas.microsoft.com/office/drawing/2014/main" id="{9A22FADC-4ABA-49BA-8635-C7245C009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b="1" dirty="0">
                <a:solidFill>
                  <a:schemeClr val="tx1"/>
                </a:solidFill>
              </a:rPr>
              <a:t>As an ecosystem, we will…:</a:t>
            </a:r>
            <a:br>
              <a:rPr lang="en-GB" sz="2400" b="1" dirty="0">
                <a:solidFill>
                  <a:schemeClr val="tx1"/>
                </a:solidFill>
              </a:rPr>
            </a:br>
            <a:r>
              <a:rPr lang="en-GB" sz="2400" dirty="0">
                <a:solidFill>
                  <a:schemeClr val="tx1"/>
                </a:solidFill>
              </a:rPr>
              <a:t>Avoid the need to rely on a single technology / point of failur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848991C-A883-4C1E-BBAE-4F6027948852}"/>
              </a:ext>
            </a:extLst>
          </p:cNvPr>
          <p:cNvSpPr/>
          <p:nvPr/>
        </p:nvSpPr>
        <p:spPr>
          <a:xfrm>
            <a:off x="6910551" y="2950113"/>
            <a:ext cx="453600" cy="45263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pic>
        <p:nvPicPr>
          <p:cNvPr id="26" name="Graphic 25" descr="Checkmark">
            <a:extLst>
              <a:ext uri="{FF2B5EF4-FFF2-40B4-BE49-F238E27FC236}">
                <a16:creationId xmlns:a16="http://schemas.microsoft.com/office/drawing/2014/main" id="{2350EAC9-ACF1-465C-982B-657ADCC0340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03396" y="4886783"/>
            <a:ext cx="914400" cy="914400"/>
          </a:xfrm>
          <a:prstGeom prst="rect">
            <a:avLst/>
          </a:prstGeom>
        </p:spPr>
      </p:pic>
      <p:pic>
        <p:nvPicPr>
          <p:cNvPr id="30" name="Graphic 29" descr="Close">
            <a:extLst>
              <a:ext uri="{FF2B5EF4-FFF2-40B4-BE49-F238E27FC236}">
                <a16:creationId xmlns:a16="http://schemas.microsoft.com/office/drawing/2014/main" id="{16ABBA62-8686-4956-AC46-5853066EF1B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680151" y="4886783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3851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FC87CC-E1AB-49C1-B49C-C00C6F05A5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b="1" dirty="0"/>
              <a:t>As an Event Consumer, I will…:</a:t>
            </a:r>
            <a:br>
              <a:rPr lang="en-GB" sz="2400" dirty="0"/>
            </a:br>
            <a:r>
              <a:rPr lang="en-GB" sz="2400" dirty="0"/>
              <a:t>Specify my requirements as a machine readable template</a:t>
            </a:r>
          </a:p>
        </p:txBody>
      </p:sp>
      <p:graphicFrame>
        <p:nvGraphicFramePr>
          <p:cNvPr id="3" name="Content Placeholder 7">
            <a:extLst>
              <a:ext uri="{FF2B5EF4-FFF2-40B4-BE49-F238E27FC236}">
                <a16:creationId xmlns:a16="http://schemas.microsoft.com/office/drawing/2014/main" id="{57D8279E-DEF2-4946-BFF9-D8B99AD4D1C7}"/>
              </a:ext>
            </a:extLst>
          </p:cNvPr>
          <p:cNvGraphicFramePr>
            <a:graphicFrameLocks/>
          </p:cNvGraphicFramePr>
          <p:nvPr/>
        </p:nvGraphicFramePr>
        <p:xfrm>
          <a:off x="390525" y="1400406"/>
          <a:ext cx="8753475" cy="1483360"/>
        </p:xfrm>
        <a:graphic>
          <a:graphicData uri="http://schemas.openxmlformats.org/drawingml/2006/table">
            <a:tbl>
              <a:tblPr firstRow="1" bandRow="1"/>
              <a:tblGrid>
                <a:gridCol w="2917825">
                  <a:extLst>
                    <a:ext uri="{9D8B030D-6E8A-4147-A177-3AD203B41FA5}">
                      <a16:colId xmlns:a16="http://schemas.microsoft.com/office/drawing/2014/main" val="1181462696"/>
                    </a:ext>
                  </a:extLst>
                </a:gridCol>
                <a:gridCol w="2917825">
                  <a:extLst>
                    <a:ext uri="{9D8B030D-6E8A-4147-A177-3AD203B41FA5}">
                      <a16:colId xmlns:a16="http://schemas.microsoft.com/office/drawing/2014/main" val="3904919340"/>
                    </a:ext>
                  </a:extLst>
                </a:gridCol>
                <a:gridCol w="2917825">
                  <a:extLst>
                    <a:ext uri="{9D8B030D-6E8A-4147-A177-3AD203B41FA5}">
                      <a16:colId xmlns:a16="http://schemas.microsoft.com/office/drawing/2014/main" val="20517342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Description: Natural Language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Description: Structured Language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Execution: code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879838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Human Readable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Human and Machine Readable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Machine Readable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24584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/>
                        <a:t>Illustrative: JMLSG Guidelines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317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/>
                        <a:t>Required data set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317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/>
                        <a:t>Matching engines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317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459398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GB" sz="1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3175" cmpd="sng">
                      <a:noFill/>
                    </a:lnT>
                    <a:lnB w="317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3175" cmpd="sng">
                      <a:noFill/>
                    </a:lnT>
                    <a:lnB w="317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3175" cmpd="sng">
                      <a:noFill/>
                    </a:lnT>
                    <a:lnB w="317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36318850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3FB01826-837E-470B-BAC4-4D18329594CB}"/>
              </a:ext>
            </a:extLst>
          </p:cNvPr>
          <p:cNvSpPr/>
          <p:nvPr/>
        </p:nvSpPr>
        <p:spPr>
          <a:xfrm>
            <a:off x="457200" y="3111958"/>
            <a:ext cx="2711302" cy="1938992"/>
          </a:xfrm>
          <a:prstGeom prst="rect">
            <a:avLst/>
          </a:prstGeom>
          <a:ln>
            <a:solidFill>
              <a:schemeClr val="bg2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GB" sz="1200" b="1" i="1" dirty="0">
                <a:solidFill>
                  <a:srgbClr val="747474"/>
                </a:solidFill>
                <a:latin typeface="&amp;quot"/>
              </a:rPr>
              <a:t>Electronic ID&amp;V</a:t>
            </a:r>
          </a:p>
          <a:p>
            <a:pPr algn="ctr"/>
            <a:r>
              <a:rPr lang="en-GB" sz="1200" i="1" dirty="0">
                <a:solidFill>
                  <a:srgbClr val="747474"/>
                </a:solidFill>
                <a:latin typeface="&amp;quot"/>
              </a:rPr>
              <a:t>The standard level of confirmation, in circumstances that do not give rise to concern or uncertainty, is:</a:t>
            </a:r>
            <a:endParaRPr lang="en-GB" sz="1200" dirty="0">
              <a:solidFill>
                <a:srgbClr val="747474"/>
              </a:solidFill>
              <a:latin typeface="&amp;quot"/>
            </a:endParaRPr>
          </a:p>
          <a:p>
            <a:pPr algn="ctr">
              <a:buFont typeface="Arial" panose="020B0604020202020204" pitchFamily="34" charset="0"/>
              <a:buChar char="•"/>
            </a:pPr>
            <a:r>
              <a:rPr lang="en-GB" sz="1200" i="1" dirty="0">
                <a:solidFill>
                  <a:srgbClr val="747474"/>
                </a:solidFill>
                <a:latin typeface="&amp;quot"/>
              </a:rPr>
              <a:t>One match on an individual’s full name and current address, </a:t>
            </a:r>
            <a:r>
              <a:rPr lang="en-GB" sz="1200" b="1" i="1" dirty="0">
                <a:solidFill>
                  <a:srgbClr val="747474"/>
                </a:solidFill>
                <a:latin typeface="&amp;quot"/>
              </a:rPr>
              <a:t>and</a:t>
            </a:r>
            <a:endParaRPr lang="en-GB" sz="1200" dirty="0">
              <a:solidFill>
                <a:srgbClr val="747474"/>
              </a:solidFill>
              <a:latin typeface="&amp;quot"/>
            </a:endParaRPr>
          </a:p>
          <a:p>
            <a:pPr algn="ctr">
              <a:buFont typeface="Arial" panose="020B0604020202020204" pitchFamily="34" charset="0"/>
              <a:buChar char="•"/>
            </a:pPr>
            <a:r>
              <a:rPr lang="en-GB" sz="1200" i="1" dirty="0">
                <a:solidFill>
                  <a:srgbClr val="747474"/>
                </a:solidFill>
                <a:latin typeface="&amp;quot"/>
              </a:rPr>
              <a:t>A second match on an individual’s full name and </a:t>
            </a:r>
            <a:r>
              <a:rPr lang="en-GB" sz="1200" b="1" i="1" dirty="0">
                <a:solidFill>
                  <a:srgbClr val="747474"/>
                </a:solidFill>
                <a:latin typeface="&amp;quot"/>
              </a:rPr>
              <a:t>either</a:t>
            </a:r>
            <a:r>
              <a:rPr lang="en-GB" sz="1200" i="1" dirty="0">
                <a:solidFill>
                  <a:srgbClr val="747474"/>
                </a:solidFill>
                <a:latin typeface="&amp;quot"/>
              </a:rPr>
              <a:t> her/his current address </a:t>
            </a:r>
            <a:r>
              <a:rPr lang="en-GB" sz="1200" b="1" i="1" dirty="0">
                <a:solidFill>
                  <a:srgbClr val="747474"/>
                </a:solidFill>
                <a:latin typeface="&amp;quot"/>
              </a:rPr>
              <a:t>or</a:t>
            </a:r>
            <a:r>
              <a:rPr lang="en-GB" sz="1200" i="1" dirty="0">
                <a:solidFill>
                  <a:srgbClr val="747474"/>
                </a:solidFill>
                <a:latin typeface="&amp;quot"/>
              </a:rPr>
              <a:t> his date of birth</a:t>
            </a:r>
            <a:endParaRPr lang="en-GB" sz="1200" dirty="0">
              <a:solidFill>
                <a:srgbClr val="747474"/>
              </a:solidFill>
              <a:latin typeface="&amp;quot"/>
            </a:endParaRPr>
          </a:p>
          <a:p>
            <a:pPr algn="ctr"/>
            <a:endParaRPr lang="en-GB" sz="1200" b="1" i="1" dirty="0">
              <a:solidFill>
                <a:srgbClr val="747474"/>
              </a:solidFill>
              <a:latin typeface="&amp;quot"/>
            </a:endParaRPr>
          </a:p>
        </p:txBody>
      </p:sp>
      <p:pic>
        <p:nvPicPr>
          <p:cNvPr id="5" name="Graphic 4" descr="Playbook">
            <a:extLst>
              <a:ext uri="{FF2B5EF4-FFF2-40B4-BE49-F238E27FC236}">
                <a16:creationId xmlns:a16="http://schemas.microsoft.com/office/drawing/2014/main" id="{E5B9D764-1D01-4584-BF77-E7DC47D1B34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06511" y="3624254"/>
            <a:ext cx="914400" cy="914400"/>
          </a:xfrm>
          <a:prstGeom prst="rect">
            <a:avLst/>
          </a:prstGeom>
        </p:spPr>
      </p:pic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CA4AD37E-7347-4D1D-B30A-787A743C0418}"/>
              </a:ext>
            </a:extLst>
          </p:cNvPr>
          <p:cNvSpPr/>
          <p:nvPr/>
        </p:nvSpPr>
        <p:spPr>
          <a:xfrm rot="16200000" flipV="1">
            <a:off x="3300092" y="2338246"/>
            <a:ext cx="473174" cy="139642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 err="1"/>
          </a:p>
        </p:txBody>
      </p:sp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5CF4EC8E-2000-43F5-9BF6-94370987C871}"/>
              </a:ext>
            </a:extLst>
          </p:cNvPr>
          <p:cNvSpPr/>
          <p:nvPr/>
        </p:nvSpPr>
        <p:spPr>
          <a:xfrm rot="16200000" flipV="1">
            <a:off x="6386021" y="2405795"/>
            <a:ext cx="473174" cy="139642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 err="1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3CF2708-B460-4ED4-A550-40259257DAE4}"/>
              </a:ext>
            </a:extLst>
          </p:cNvPr>
          <p:cNvGrpSpPr/>
          <p:nvPr/>
        </p:nvGrpSpPr>
        <p:grpSpPr>
          <a:xfrm>
            <a:off x="2718862" y="5731442"/>
            <a:ext cx="4466067" cy="949576"/>
            <a:chOff x="3954611" y="5344931"/>
            <a:chExt cx="4466067" cy="949576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" name="Content Placeholder 7">
                  <a:extLst>
                    <a:ext uri="{FF2B5EF4-FFF2-40B4-BE49-F238E27FC236}">
                      <a16:creationId xmlns:a16="http://schemas.microsoft.com/office/drawing/2014/main" id="{48CCE75B-F170-4DD4-913A-0C2A71C8A136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3954611" y="5344931"/>
                  <a:ext cx="4466067" cy="949576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vert="horz" lIns="0" tIns="0" rIns="0" bIns="0" rtlCol="0" anchor="t" anchorCtr="0">
                  <a:noAutofit/>
                </a:bodyPr>
                <a:lstStyle>
                  <a:lvl1pPr marL="360000" indent="-360000" algn="l" defTabSz="914400" rtl="0" eaLnBrk="1" latinLnBrk="0" hangingPunct="1">
                    <a:lnSpc>
                      <a:spcPct val="100000"/>
                    </a:lnSpc>
                    <a:spcBef>
                      <a:spcPts val="1000"/>
                    </a:spcBef>
                    <a:buClr>
                      <a:schemeClr val="accent1"/>
                    </a:buClr>
                    <a:buSzPct val="90000"/>
                    <a:buFont typeface="Wingdings" panose="05000000000000000000" pitchFamily="2" charset="2"/>
                    <a:buChar char="u"/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719138" indent="-358775" algn="l" defTabSz="914400" rtl="0" eaLnBrk="1" latinLnBrk="0" hangingPunct="1">
                    <a:lnSpc>
                      <a:spcPct val="100000"/>
                    </a:lnSpc>
                    <a:spcBef>
                      <a:spcPts val="500"/>
                    </a:spcBef>
                    <a:buClr>
                      <a:schemeClr val="accent1"/>
                    </a:buClr>
                    <a:buSzPct val="100000"/>
                    <a:buFont typeface="Wingdings 2" panose="05020102010507070707" pitchFamily="18" charset="2"/>
                    <a:buChar char=""/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74738" indent="-358775" algn="l" defTabSz="914400" rtl="0" eaLnBrk="1" latinLnBrk="0" hangingPunct="1">
                    <a:lnSpc>
                      <a:spcPct val="100000"/>
                    </a:lnSpc>
                    <a:spcBef>
                      <a:spcPts val="500"/>
                    </a:spcBef>
                    <a:buClr>
                      <a:schemeClr val="accent1"/>
                    </a:buClr>
                    <a:buSzPct val="90000"/>
                    <a:buFont typeface="Helvetica Neue for HSBC Lt" panose="020B0404020202020204" pitchFamily="34" charset="0"/>
                    <a:buChar char="–"/>
                    <a:tabLst>
                      <a:tab pos="355600" algn="l"/>
                      <a:tab pos="1163638" algn="l"/>
                    </a:tabLst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438275" indent="-358775" algn="l" defTabSz="914400" rtl="0" eaLnBrk="1" latinLnBrk="0" hangingPunct="1">
                    <a:lnSpc>
                      <a:spcPct val="100000"/>
                    </a:lnSpc>
                    <a:spcBef>
                      <a:spcPts val="500"/>
                    </a:spcBef>
                    <a:buClr>
                      <a:schemeClr val="accent1"/>
                    </a:buClr>
                    <a:buSzPct val="90000"/>
                    <a:buFont typeface="Helvetica Neue for HSBC Lt" panose="020B0404020202020204" pitchFamily="34" charset="0"/>
                    <a:buChar char="‐"/>
                    <a:tabLst>
                      <a:tab pos="88900" algn="l"/>
                      <a:tab pos="1339850" algn="l"/>
                    </a:tabLst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793875" indent="-358775" algn="l" defTabSz="914400" rtl="0" eaLnBrk="1" latinLnBrk="0" hangingPunct="1">
                    <a:lnSpc>
                      <a:spcPct val="100000"/>
                    </a:lnSpc>
                    <a:spcBef>
                      <a:spcPts val="500"/>
                    </a:spcBef>
                    <a:buClr>
                      <a:schemeClr val="accent1"/>
                    </a:buClr>
                    <a:buSzPct val="90000"/>
                    <a:buFont typeface="Helvetica Neue for HSBC Lt" panose="020B0404020202020204" pitchFamily="34" charset="0"/>
                    <a:buChar char="‐"/>
                    <a:tabLst>
                      <a:tab pos="1882775" algn="l"/>
                    </a:tabLst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146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1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360363" lvl="1" indent="0" algn="ctr">
                    <a:buNone/>
                  </a:pPr>
                  <a:endParaRPr lang="en-GB" sz="1000" b="0" i="1" dirty="0">
                    <a:latin typeface="Cambria Math" panose="02040503050406030204" pitchFamily="18" charset="0"/>
                    <a:ea typeface="Cambria Math" panose="02040503050406030204" pitchFamily="18" charset="0"/>
                  </a:endParaRPr>
                </a:p>
                <a:p>
                  <a:pPr marL="360363" lvl="1" indent="0" algn="ctr">
                    <a:buNone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d>
                          <m:dPr>
                            <m:begChr m:val="{"/>
                            <m:endChr m:val="}"/>
                            <m:ctrlPr>
                              <a:rPr lang="en-GB" sz="1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GB" sz="1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𝑁𝑎𝑚𝑒</m:t>
                            </m:r>
                            <m:r>
                              <a:rPr lang="en-GB" sz="1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, </m:t>
                            </m:r>
                            <m:r>
                              <a:rPr lang="en-GB" sz="1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𝐷𝑜𝐵</m:t>
                            </m:r>
                          </m:e>
                        </m:d>
                        <m:r>
                          <a:rPr lang="en-GB" sz="1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∈</m:t>
                        </m:r>
                        <m:r>
                          <a:rPr lang="en-GB" sz="1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𝑠𝐶𝑜𝑟𝑟𝑜𝑏𝑜𝑟𝑎𝑡𝑒𝑑</m:t>
                        </m:r>
                        <m:d>
                          <m:dPr>
                            <m:begChr m:val="{"/>
                            <m:endChr m:val="}"/>
                            <m:ctrlPr>
                              <a:rPr lang="en-GB" sz="10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GB" sz="10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𝑥</m:t>
                            </m:r>
                          </m:e>
                          <m:e>
                            <m:r>
                              <a:rPr lang="en-GB" sz="10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𝑥</m:t>
                            </m:r>
                            <m:r>
                              <a:rPr lang="en-GB" sz="10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∈</m:t>
                            </m:r>
                            <m:r>
                              <a:rPr lang="en-GB" sz="10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𝐴𝑃</m:t>
                            </m:r>
                          </m:e>
                        </m:d>
                      </m:oMath>
                    </m:oMathPara>
                  </a14:m>
                  <a:endParaRPr lang="en-GB" sz="1000" b="0" i="1" dirty="0">
                    <a:ea typeface="Cambria Math" panose="02040503050406030204" pitchFamily="18" charset="0"/>
                  </a:endParaRPr>
                </a:p>
                <a:p>
                  <a:pPr marL="360363" lvl="1" indent="0" algn="ctr">
                    <a:buNone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d>
                          <m:dPr>
                            <m:begChr m:val="{"/>
                            <m:endChr m:val="}"/>
                            <m:ctrlPr>
                              <a:rPr lang="en-GB" sz="1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GB" sz="1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𝑁𝑎𝑚𝑒</m:t>
                            </m:r>
                            <m:r>
                              <a:rPr lang="en-GB" sz="1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en-GB" sz="1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𝐴𝑑𝑑𝑟𝑒𝑠𝑠</m:t>
                            </m:r>
                          </m:e>
                        </m:d>
                        <m:r>
                          <a:rPr lang="en-GB" sz="1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∈</m:t>
                        </m:r>
                        <m:r>
                          <a:rPr lang="en-GB" sz="1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𝑠𝐶𝑜𝑟𝑟𝑜𝑏𝑜𝑟𝑎𝑡𝑒𝑑</m:t>
                        </m:r>
                        <m:d>
                          <m:dPr>
                            <m:begChr m:val="{"/>
                            <m:endChr m:val="}"/>
                            <m:ctrlPr>
                              <a:rPr lang="en-GB" sz="10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GB" sz="10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𝑥</m:t>
                            </m:r>
                          </m:e>
                          <m:e>
                            <m:r>
                              <a:rPr lang="en-GB" sz="10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𝑥</m:t>
                            </m:r>
                            <m:r>
                              <a:rPr lang="en-GB" sz="10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∈</m:t>
                            </m:r>
                            <m:r>
                              <a:rPr lang="en-GB" sz="10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𝐴𝑃</m:t>
                            </m:r>
                          </m:e>
                        </m:d>
                      </m:oMath>
                    </m:oMathPara>
                  </a14:m>
                  <a:endParaRPr lang="en-GB" sz="1000" b="0" i="1" dirty="0">
                    <a:ea typeface="Cambria Math" panose="02040503050406030204" pitchFamily="18" charset="0"/>
                  </a:endParaRPr>
                </a:p>
                <a:p>
                  <a:pPr marL="360363" lvl="1" indent="0" algn="ctr">
                    <a:buNone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GB" sz="1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𝑥</m:t>
                        </m:r>
                        <m:r>
                          <a:rPr lang="en-GB" sz="1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=</m:t>
                        </m:r>
                        <m:r>
                          <a:rPr lang="en-GB" sz="1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𝐴𝑢𝑡h𝑜𝑟</m:t>
                        </m:r>
                        <m:r>
                          <a:rPr lang="en-GB" sz="1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</m:t>
                        </m:r>
                        <m:r>
                          <a:rPr lang="en-GB" sz="1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𝑜𝑓</m:t>
                        </m:r>
                        <m:r>
                          <a:rPr lang="en-GB" sz="1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</m:t>
                        </m:r>
                        <m:r>
                          <a:rPr lang="en-GB" sz="1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𝑐𝑜𝑟𝑟𝑜𝑏𝑜𝑟𝑎𝑡𝑖𝑛𝑔</m:t>
                        </m:r>
                        <m:r>
                          <a:rPr lang="en-GB" sz="1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</m:t>
                        </m:r>
                        <m:r>
                          <a:rPr lang="en-GB" sz="1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𝑠𝑡𝑎𝑡𝑒𝑚𝑒𝑛𝑡</m:t>
                        </m:r>
                      </m:oMath>
                    </m:oMathPara>
                  </a14:m>
                  <a:endParaRPr lang="en-GB" sz="1000" b="0" i="1" dirty="0">
                    <a:ea typeface="Cambria Math" panose="02040503050406030204" pitchFamily="18" charset="0"/>
                  </a:endParaRPr>
                </a:p>
                <a:p>
                  <a:pPr marL="360363" lvl="1" indent="0" algn="ctr">
                    <a:buNone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GB" sz="1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𝐴𝑃</m:t>
                        </m:r>
                        <m:r>
                          <a:rPr lang="en-GB" sz="1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= </m:t>
                        </m:r>
                        <m:d>
                          <m:dPr>
                            <m:begChr m:val="{"/>
                            <m:endChr m:val="}"/>
                            <m:ctrlPr>
                              <a:rPr lang="en-GB" sz="1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GB" sz="1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𝐸𝑥𝑝𝑒𝑟𝑖𝑎𝑛</m:t>
                            </m:r>
                            <m:r>
                              <a:rPr lang="en-GB" sz="1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, </m:t>
                            </m:r>
                            <m:r>
                              <a:rPr lang="en-GB" sz="1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𝐶𝑟𝑒𝑑𝑖𝑡𝑆𝑎𝑓𝑒</m:t>
                            </m:r>
                            <m:r>
                              <a:rPr lang="en-GB" sz="1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, </m:t>
                            </m:r>
                            <m:r>
                              <a:rPr lang="en-GB" sz="1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𝐸𝑞𝑢𝑖𝑓𝑎𝑥</m:t>
                            </m:r>
                          </m:e>
                        </m:d>
                      </m:oMath>
                    </m:oMathPara>
                  </a14:m>
                  <a:endParaRPr lang="en-GB" sz="1000" b="0" i="1" dirty="0">
                    <a:ea typeface="Cambria Math" panose="02040503050406030204" pitchFamily="18" charset="0"/>
                  </a:endParaRPr>
                </a:p>
                <a:p>
                  <a:pPr lvl="1" algn="ctr"/>
                  <a:endParaRPr lang="en-GB" sz="1000" i="1" dirty="0"/>
                </a:p>
              </p:txBody>
            </p:sp>
          </mc:Choice>
          <mc:Fallback xmlns="">
            <p:sp>
              <p:nvSpPr>
                <p:cNvPr id="11" name="Content Placeholder 7">
                  <a:extLst>
                    <a:ext uri="{FF2B5EF4-FFF2-40B4-BE49-F238E27FC236}">
                      <a16:creationId xmlns:a16="http://schemas.microsoft.com/office/drawing/2014/main" id="{2F3E86E7-72C7-4EFA-9849-1E557FB8ABC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954611" y="5344931"/>
                  <a:ext cx="4466067" cy="949576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GB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8ECCB2F-08E3-4059-B89B-AF5557166939}"/>
                </a:ext>
              </a:extLst>
            </p:cNvPr>
            <p:cNvSpPr/>
            <p:nvPr/>
          </p:nvSpPr>
          <p:spPr>
            <a:xfrm>
              <a:off x="4477077" y="5344931"/>
              <a:ext cx="3079043" cy="949576"/>
            </a:xfrm>
            <a:prstGeom prst="rect">
              <a:avLst/>
            </a:prstGeom>
            <a:noFill/>
            <a:ln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 err="1"/>
            </a:p>
          </p:txBody>
        </p:sp>
      </p:grpSp>
      <p:sp>
        <p:nvSpPr>
          <p:cNvPr id="11" name="Oval 10">
            <a:extLst>
              <a:ext uri="{FF2B5EF4-FFF2-40B4-BE49-F238E27FC236}">
                <a16:creationId xmlns:a16="http://schemas.microsoft.com/office/drawing/2014/main" id="{31008209-E908-476C-B74E-1F948659A746}"/>
              </a:ext>
            </a:extLst>
          </p:cNvPr>
          <p:cNvSpPr/>
          <p:nvPr/>
        </p:nvSpPr>
        <p:spPr>
          <a:xfrm>
            <a:off x="3867262" y="3181454"/>
            <a:ext cx="1800000" cy="1800000"/>
          </a:xfrm>
          <a:prstGeom prst="ellipse">
            <a:avLst/>
          </a:prstGeom>
          <a:solidFill>
            <a:srgbClr val="FFC5C9">
              <a:alpha val="50196"/>
            </a:srgb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 err="1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4954C9B-42A4-4436-856D-BA3907994775}"/>
              </a:ext>
            </a:extLst>
          </p:cNvPr>
          <p:cNvSpPr txBox="1"/>
          <p:nvPr/>
        </p:nvSpPr>
        <p:spPr>
          <a:xfrm>
            <a:off x="4449708" y="3653132"/>
            <a:ext cx="635109" cy="8566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ts val="1000"/>
              </a:spcBef>
              <a:buClr>
                <a:schemeClr val="accent1"/>
              </a:buClr>
              <a:buSzPct val="90000"/>
            </a:pPr>
            <a:r>
              <a:rPr lang="en-GB" sz="1100" i="1" dirty="0"/>
              <a:t>Name</a:t>
            </a:r>
          </a:p>
          <a:p>
            <a:pPr algn="ctr">
              <a:spcBef>
                <a:spcPts val="1000"/>
              </a:spcBef>
              <a:buClr>
                <a:schemeClr val="accent1"/>
              </a:buClr>
              <a:buSzPct val="90000"/>
            </a:pPr>
            <a:r>
              <a:rPr lang="en-GB" sz="1100" i="1" dirty="0"/>
              <a:t>Address</a:t>
            </a:r>
          </a:p>
          <a:p>
            <a:pPr algn="ctr">
              <a:spcBef>
                <a:spcPts val="1000"/>
              </a:spcBef>
              <a:buClr>
                <a:schemeClr val="accent1"/>
              </a:buClr>
              <a:buSzPct val="90000"/>
            </a:pPr>
            <a:r>
              <a:rPr lang="en-GB" sz="1100" i="1" dirty="0" err="1"/>
              <a:t>DoB</a:t>
            </a:r>
            <a:endParaRPr lang="en-GB" sz="1100" i="1" dirty="0"/>
          </a:p>
        </p:txBody>
      </p:sp>
      <p:sp>
        <p:nvSpPr>
          <p:cNvPr id="13" name="Title 4">
            <a:extLst>
              <a:ext uri="{FF2B5EF4-FFF2-40B4-BE49-F238E27FC236}">
                <a16:creationId xmlns:a16="http://schemas.microsoft.com/office/drawing/2014/main" id="{5BF361DF-1BF7-45D6-928D-EE625B823290}"/>
              </a:ext>
            </a:extLst>
          </p:cNvPr>
          <p:cNvSpPr txBox="1">
            <a:spLocks/>
          </p:cNvSpPr>
          <p:nvPr/>
        </p:nvSpPr>
        <p:spPr>
          <a:xfrm>
            <a:off x="3706683" y="5444511"/>
            <a:ext cx="2124297" cy="32446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1200" b="1" dirty="0"/>
              <a:t>Required Assurance Level</a:t>
            </a:r>
          </a:p>
        </p:txBody>
      </p:sp>
      <p:pic>
        <p:nvPicPr>
          <p:cNvPr id="14" name="Graphic 13" descr="Playbook">
            <a:extLst>
              <a:ext uri="{FF2B5EF4-FFF2-40B4-BE49-F238E27FC236}">
                <a16:creationId xmlns:a16="http://schemas.microsoft.com/office/drawing/2014/main" id="{51135FC4-FEF6-41BC-B3F5-968B642FD2A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77567" y="5731442"/>
            <a:ext cx="914400" cy="914400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268629BA-EFB0-4162-9D56-54C29B4E460C}"/>
              </a:ext>
            </a:extLst>
          </p:cNvPr>
          <p:cNvSpPr/>
          <p:nvPr/>
        </p:nvSpPr>
        <p:spPr>
          <a:xfrm rot="16200000" flipV="1">
            <a:off x="3300092" y="4011633"/>
            <a:ext cx="473174" cy="139642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 err="1"/>
          </a:p>
        </p:txBody>
      </p:sp>
      <p:sp>
        <p:nvSpPr>
          <p:cNvPr id="17" name="Isosceles Triangle 16">
            <a:extLst>
              <a:ext uri="{FF2B5EF4-FFF2-40B4-BE49-F238E27FC236}">
                <a16:creationId xmlns:a16="http://schemas.microsoft.com/office/drawing/2014/main" id="{FF8ED4DB-AA9D-4D46-BE13-10892CCD9B6F}"/>
              </a:ext>
            </a:extLst>
          </p:cNvPr>
          <p:cNvSpPr/>
          <p:nvPr/>
        </p:nvSpPr>
        <p:spPr>
          <a:xfrm rot="17506442" flipV="1">
            <a:off x="3382872" y="5157240"/>
            <a:ext cx="473174" cy="139642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 err="1"/>
          </a:p>
        </p:txBody>
      </p:sp>
      <p:sp>
        <p:nvSpPr>
          <p:cNvPr id="18" name="Isosceles Triangle 17">
            <a:extLst>
              <a:ext uri="{FF2B5EF4-FFF2-40B4-BE49-F238E27FC236}">
                <a16:creationId xmlns:a16="http://schemas.microsoft.com/office/drawing/2014/main" id="{45E9FC81-AB23-4AB0-B62B-0604FCA10AAE}"/>
              </a:ext>
            </a:extLst>
          </p:cNvPr>
          <p:cNvSpPr/>
          <p:nvPr/>
        </p:nvSpPr>
        <p:spPr>
          <a:xfrm rot="16200000" flipV="1">
            <a:off x="6386021" y="4011634"/>
            <a:ext cx="473174" cy="139642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 err="1"/>
          </a:p>
        </p:txBody>
      </p:sp>
      <p:sp>
        <p:nvSpPr>
          <p:cNvPr id="19" name="Isosceles Triangle 18">
            <a:extLst>
              <a:ext uri="{FF2B5EF4-FFF2-40B4-BE49-F238E27FC236}">
                <a16:creationId xmlns:a16="http://schemas.microsoft.com/office/drawing/2014/main" id="{28CEFE0C-610B-4707-B752-CC7FAB9C6730}"/>
              </a:ext>
            </a:extLst>
          </p:cNvPr>
          <p:cNvSpPr/>
          <p:nvPr/>
        </p:nvSpPr>
        <p:spPr>
          <a:xfrm rot="16200000" flipV="1">
            <a:off x="6431287" y="6136409"/>
            <a:ext cx="473174" cy="139642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 err="1"/>
          </a:p>
        </p:txBody>
      </p:sp>
    </p:spTree>
    <p:extLst>
      <p:ext uri="{BB962C8B-B14F-4D97-AF65-F5344CB8AC3E}">
        <p14:creationId xmlns:p14="http://schemas.microsoft.com/office/powerpoint/2010/main" val="374049563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A4181F9-425C-43D4-8E01-48BE78910F9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399032"/>
            <a:ext cx="8686800" cy="365760"/>
          </a:xfrm>
        </p:spPr>
        <p:txBody>
          <a:bodyPr/>
          <a:lstStyle/>
          <a:p>
            <a:r>
              <a:rPr lang="en-GB" sz="1800" dirty="0">
                <a:solidFill>
                  <a:schemeClr val="tx1"/>
                </a:solidFill>
              </a:rPr>
              <a:t>Illustrative example: ID&amp;V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FBE88DD-3C05-478F-8A8E-545E52CC03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b="1" dirty="0"/>
              <a:t>As an Event Consumer, I will…:</a:t>
            </a:r>
            <a:br>
              <a:rPr lang="en-GB" sz="2400" dirty="0"/>
            </a:br>
            <a:r>
              <a:rPr lang="en-GB" sz="2400" dirty="0"/>
              <a:t>Use reasoning to combine Events, assert </a:t>
            </a:r>
            <a:r>
              <a:rPr lang="en-GB" sz="2400" i="1" dirty="0"/>
              <a:t>status </a:t>
            </a:r>
            <a:r>
              <a:rPr lang="en-GB" sz="2400" dirty="0"/>
              <a:t>and place </a:t>
            </a:r>
            <a:r>
              <a:rPr lang="en-GB" sz="2400" i="1" dirty="0"/>
              <a:t>trust</a:t>
            </a:r>
            <a:endParaRPr lang="en-GB" sz="24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A56190A-D4D1-41F4-A9B7-243D2970FAC6}"/>
              </a:ext>
            </a:extLst>
          </p:cNvPr>
          <p:cNvSpPr/>
          <p:nvPr/>
        </p:nvSpPr>
        <p:spPr>
          <a:xfrm>
            <a:off x="7555788" y="2140384"/>
            <a:ext cx="1588212" cy="92322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Conditions precedent have been me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823D306-D973-4564-B85C-F75851D6C6E6}"/>
              </a:ext>
            </a:extLst>
          </p:cNvPr>
          <p:cNvSpPr/>
          <p:nvPr/>
        </p:nvSpPr>
        <p:spPr>
          <a:xfrm>
            <a:off x="7555788" y="3377607"/>
            <a:ext cx="1588212" cy="87992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Successful passport check has been completed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E774230-0147-4B4B-BA85-9EF94145C3D1}"/>
              </a:ext>
            </a:extLst>
          </p:cNvPr>
          <p:cNvSpPr/>
          <p:nvPr/>
        </p:nvSpPr>
        <p:spPr>
          <a:xfrm>
            <a:off x="7555788" y="4561013"/>
            <a:ext cx="1588212" cy="90291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Successful utility bill check has been complete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AF7708D-8EB2-485E-ADB8-79B0D8807819}"/>
              </a:ext>
            </a:extLst>
          </p:cNvPr>
          <p:cNvSpPr/>
          <p:nvPr/>
        </p:nvSpPr>
        <p:spPr>
          <a:xfrm>
            <a:off x="3488284" y="2140384"/>
            <a:ext cx="3060000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800" dirty="0">
                <a:solidFill>
                  <a:schemeClr val="tx1"/>
                </a:solidFill>
              </a:rPr>
              <a:t>Claimant is present in branch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631FDA-5E70-4AA7-A6BB-D061D372910D}"/>
              </a:ext>
            </a:extLst>
          </p:cNvPr>
          <p:cNvSpPr/>
          <p:nvPr/>
        </p:nvSpPr>
        <p:spPr>
          <a:xfrm>
            <a:off x="3488284" y="2533812"/>
            <a:ext cx="3060000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800" dirty="0">
                <a:solidFill>
                  <a:schemeClr val="tx1"/>
                </a:solidFill>
              </a:rPr>
              <a:t>Claimant is in possession of passpor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E4D1DD9-198D-44BD-AFE9-359C4DCF3888}"/>
              </a:ext>
            </a:extLst>
          </p:cNvPr>
          <p:cNvSpPr/>
          <p:nvPr/>
        </p:nvSpPr>
        <p:spPr>
          <a:xfrm>
            <a:off x="3488284" y="2883610"/>
            <a:ext cx="3060000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800" dirty="0">
                <a:solidFill>
                  <a:schemeClr val="tx1"/>
                </a:solidFill>
              </a:rPr>
              <a:t>Claimant is in possession of utility bil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CC64AE0-98E0-4CC2-9DB1-CADB32918C5B}"/>
              </a:ext>
            </a:extLst>
          </p:cNvPr>
          <p:cNvSpPr txBox="1"/>
          <p:nvPr/>
        </p:nvSpPr>
        <p:spPr>
          <a:xfrm>
            <a:off x="4840351" y="2390803"/>
            <a:ext cx="355867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b="1" dirty="0"/>
              <a:t>...and..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3D69452-2DBE-45DA-80A7-EFBFB28D8308}"/>
              </a:ext>
            </a:extLst>
          </p:cNvPr>
          <p:cNvSpPr txBox="1"/>
          <p:nvPr/>
        </p:nvSpPr>
        <p:spPr>
          <a:xfrm>
            <a:off x="4840351" y="2742898"/>
            <a:ext cx="355867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b="1" dirty="0"/>
              <a:t>...and..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C965BF2-8268-429A-91C0-FB6404D0B6B4}"/>
              </a:ext>
            </a:extLst>
          </p:cNvPr>
          <p:cNvSpPr/>
          <p:nvPr/>
        </p:nvSpPr>
        <p:spPr>
          <a:xfrm>
            <a:off x="3488284" y="3377607"/>
            <a:ext cx="3060000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800" dirty="0">
                <a:solidFill>
                  <a:schemeClr val="tx1"/>
                </a:solidFill>
              </a:rPr>
              <a:t>Bank staff matches photo to Claimant to confirm ownership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8E9CB0-7A1A-40A9-AB6E-E1191DFA10EE}"/>
              </a:ext>
            </a:extLst>
          </p:cNvPr>
          <p:cNvSpPr/>
          <p:nvPr/>
        </p:nvSpPr>
        <p:spPr>
          <a:xfrm>
            <a:off x="3488284" y="3720183"/>
            <a:ext cx="3060000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800" dirty="0">
                <a:solidFill>
                  <a:schemeClr val="tx1"/>
                </a:solidFill>
              </a:rPr>
              <a:t>Bank staff checks date to confirm Passport is valid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6343B7-5210-45FC-AE7C-5608763A8EF0}"/>
              </a:ext>
            </a:extLst>
          </p:cNvPr>
          <p:cNvSpPr/>
          <p:nvPr/>
        </p:nvSpPr>
        <p:spPr>
          <a:xfrm>
            <a:off x="3488284" y="4077534"/>
            <a:ext cx="3060000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800" dirty="0">
                <a:solidFill>
                  <a:schemeClr val="tx1"/>
                </a:solidFill>
              </a:rPr>
              <a:t>Bank staff checks watermarks to confirm Passport is authentic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3075C29-3267-476B-B9ED-03F819C03DBE}"/>
              </a:ext>
            </a:extLst>
          </p:cNvPr>
          <p:cNvSpPr txBox="1"/>
          <p:nvPr/>
        </p:nvSpPr>
        <p:spPr>
          <a:xfrm>
            <a:off x="4840351" y="3584467"/>
            <a:ext cx="355867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b="1" dirty="0"/>
              <a:t>...and..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5C7CC10-F8EC-430A-A21A-95345578FD21}"/>
              </a:ext>
            </a:extLst>
          </p:cNvPr>
          <p:cNvSpPr txBox="1"/>
          <p:nvPr/>
        </p:nvSpPr>
        <p:spPr>
          <a:xfrm>
            <a:off x="4840351" y="3931307"/>
            <a:ext cx="355867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b="1" dirty="0"/>
              <a:t>...and...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9341627-7DE0-4D82-969E-F89076AD5761}"/>
              </a:ext>
            </a:extLst>
          </p:cNvPr>
          <p:cNvSpPr/>
          <p:nvPr/>
        </p:nvSpPr>
        <p:spPr>
          <a:xfrm>
            <a:off x="3488284" y="4917697"/>
            <a:ext cx="3060000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800" dirty="0">
                <a:solidFill>
                  <a:schemeClr val="tx1"/>
                </a:solidFill>
              </a:rPr>
              <a:t>Bank staff checks date to confirm it is recent (within 3 months)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F83B9B5-2091-4561-83AF-049CCBEB3CC3}"/>
              </a:ext>
            </a:extLst>
          </p:cNvPr>
          <p:cNvSpPr/>
          <p:nvPr/>
        </p:nvSpPr>
        <p:spPr>
          <a:xfrm>
            <a:off x="3488284" y="4561012"/>
            <a:ext cx="3060000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800" dirty="0">
                <a:solidFill>
                  <a:schemeClr val="tx1"/>
                </a:solidFill>
              </a:rPr>
              <a:t>Bank staff checks utility bill to confirm it is authentic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6137014-0AEE-414D-AC8E-5A2C3A7E5DE1}"/>
              </a:ext>
            </a:extLst>
          </p:cNvPr>
          <p:cNvSpPr/>
          <p:nvPr/>
        </p:nvSpPr>
        <p:spPr>
          <a:xfrm>
            <a:off x="3488284" y="5283922"/>
            <a:ext cx="3060000" cy="1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800" dirty="0">
                <a:solidFill>
                  <a:schemeClr val="tx1"/>
                </a:solidFill>
              </a:rPr>
              <a:t>Bank staff checks name to correlate with Passpor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19BE6E8-4E87-4886-8F98-FE93FC8F4569}"/>
              </a:ext>
            </a:extLst>
          </p:cNvPr>
          <p:cNvSpPr txBox="1"/>
          <p:nvPr/>
        </p:nvSpPr>
        <p:spPr>
          <a:xfrm>
            <a:off x="4840351" y="4761738"/>
            <a:ext cx="355867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b="1" dirty="0"/>
              <a:t>...and...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101F8D7-22B4-4463-BFBF-5A2934A98D19}"/>
              </a:ext>
            </a:extLst>
          </p:cNvPr>
          <p:cNvSpPr txBox="1"/>
          <p:nvPr/>
        </p:nvSpPr>
        <p:spPr>
          <a:xfrm>
            <a:off x="4840351" y="5112842"/>
            <a:ext cx="355867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b="1" dirty="0"/>
              <a:t>...and..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95FAA7A-3B4E-4971-BDF7-FF04E37570E5}"/>
              </a:ext>
            </a:extLst>
          </p:cNvPr>
          <p:cNvSpPr txBox="1"/>
          <p:nvPr/>
        </p:nvSpPr>
        <p:spPr>
          <a:xfrm>
            <a:off x="3022012" y="2334786"/>
            <a:ext cx="28854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b="1" dirty="0"/>
              <a:t>If…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AA92EAD-F6FB-42D5-A7C8-D1CF03683946}"/>
              </a:ext>
            </a:extLst>
          </p:cNvPr>
          <p:cNvSpPr txBox="1"/>
          <p:nvPr/>
        </p:nvSpPr>
        <p:spPr>
          <a:xfrm>
            <a:off x="3022012" y="3709848"/>
            <a:ext cx="28854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b="1" dirty="0"/>
              <a:t>If…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2F585B7-D1DB-4F6B-A698-123F6AB88B8C}"/>
              </a:ext>
            </a:extLst>
          </p:cNvPr>
          <p:cNvSpPr txBox="1"/>
          <p:nvPr/>
        </p:nvSpPr>
        <p:spPr>
          <a:xfrm>
            <a:off x="6690906" y="2523213"/>
            <a:ext cx="73577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400" b="1" dirty="0"/>
              <a:t>…then…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DC3EEC7-E19F-43B4-890C-29D975263E12}"/>
              </a:ext>
            </a:extLst>
          </p:cNvPr>
          <p:cNvSpPr txBox="1"/>
          <p:nvPr/>
        </p:nvSpPr>
        <p:spPr>
          <a:xfrm>
            <a:off x="3022012" y="4890653"/>
            <a:ext cx="28854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b="1" dirty="0"/>
              <a:t>If…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91405B3-8118-4A0F-A658-3A6312E92125}"/>
              </a:ext>
            </a:extLst>
          </p:cNvPr>
          <p:cNvSpPr txBox="1"/>
          <p:nvPr/>
        </p:nvSpPr>
        <p:spPr>
          <a:xfrm>
            <a:off x="6690906" y="3709848"/>
            <a:ext cx="73577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400" b="1" dirty="0"/>
              <a:t>…then…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79D7FAD-EC98-4E4F-A895-C87A784E2B90}"/>
              </a:ext>
            </a:extLst>
          </p:cNvPr>
          <p:cNvSpPr txBox="1"/>
          <p:nvPr/>
        </p:nvSpPr>
        <p:spPr>
          <a:xfrm>
            <a:off x="6690906" y="4890653"/>
            <a:ext cx="73577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400" b="1" dirty="0"/>
              <a:t>…then…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E3E12A9-025A-4672-A3FE-8B9C69B6ACA5}"/>
              </a:ext>
            </a:extLst>
          </p:cNvPr>
          <p:cNvSpPr txBox="1"/>
          <p:nvPr/>
        </p:nvSpPr>
        <p:spPr>
          <a:xfrm>
            <a:off x="8183983" y="1774911"/>
            <a:ext cx="33182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600" b="1" dirty="0"/>
              <a:t>If…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72A1A50-CE12-47F6-9149-9BE19EB5B0A0}"/>
              </a:ext>
            </a:extLst>
          </p:cNvPr>
          <p:cNvSpPr txBox="1"/>
          <p:nvPr/>
        </p:nvSpPr>
        <p:spPr>
          <a:xfrm>
            <a:off x="7994829" y="3083718"/>
            <a:ext cx="71013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600" b="1" dirty="0"/>
              <a:t>...and...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4BF09E0-EC94-42FE-969C-7D41201FACAA}"/>
              </a:ext>
            </a:extLst>
          </p:cNvPr>
          <p:cNvSpPr txBox="1"/>
          <p:nvPr/>
        </p:nvSpPr>
        <p:spPr>
          <a:xfrm>
            <a:off x="7994829" y="4270395"/>
            <a:ext cx="71013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600" b="1" dirty="0"/>
              <a:t>...and...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34DC889-0E0E-49FF-B704-112DCC8DBF91}"/>
              </a:ext>
            </a:extLst>
          </p:cNvPr>
          <p:cNvSpPr txBox="1"/>
          <p:nvPr/>
        </p:nvSpPr>
        <p:spPr>
          <a:xfrm>
            <a:off x="7960365" y="5503854"/>
            <a:ext cx="77905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600" b="1" dirty="0"/>
              <a:t>...then...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159505E-B13E-4694-8493-6C555B57FE5F}"/>
              </a:ext>
            </a:extLst>
          </p:cNvPr>
          <p:cNvSpPr/>
          <p:nvPr/>
        </p:nvSpPr>
        <p:spPr>
          <a:xfrm>
            <a:off x="7555788" y="5782254"/>
            <a:ext cx="1588212" cy="383663"/>
          </a:xfrm>
          <a:prstGeom prst="rect">
            <a:avLst/>
          </a:prstGeom>
          <a:solidFill>
            <a:srgbClr val="06706D"/>
          </a:solidFill>
          <a:ln w="9525">
            <a:solidFill>
              <a:srgbClr val="0670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400" b="1" dirty="0">
                <a:solidFill>
                  <a:schemeClr val="bg1"/>
                </a:solidFill>
              </a:rPr>
              <a:t>ID&amp;V successful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0EAA819-A687-47D1-BCD2-D3FA4EF74EAC}"/>
              </a:ext>
            </a:extLst>
          </p:cNvPr>
          <p:cNvSpPr txBox="1"/>
          <p:nvPr/>
        </p:nvSpPr>
        <p:spPr>
          <a:xfrm>
            <a:off x="3979941" y="5956331"/>
            <a:ext cx="442429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50" b="1" dirty="0"/>
              <a:t>Event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DB9BBC1-2795-4285-BD8A-80F6759628C2}"/>
              </a:ext>
            </a:extLst>
          </p:cNvPr>
          <p:cNvSpPr txBox="1"/>
          <p:nvPr/>
        </p:nvSpPr>
        <p:spPr>
          <a:xfrm>
            <a:off x="5882314" y="5956331"/>
            <a:ext cx="836768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050" b="1" dirty="0"/>
              <a:t>Rules</a:t>
            </a: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C84AAC17-C067-43F6-B113-0E82B1326C6E}"/>
              </a:ext>
            </a:extLst>
          </p:cNvPr>
          <p:cNvCxnSpPr>
            <a:cxnSpLocks/>
            <a:stCxn id="36" idx="0"/>
            <a:endCxn id="22" idx="3"/>
          </p:cNvCxnSpPr>
          <p:nvPr/>
        </p:nvCxnSpPr>
        <p:spPr>
          <a:xfrm flipH="1" flipV="1">
            <a:off x="5196218" y="4823294"/>
            <a:ext cx="1104480" cy="1133037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4964E972-93B9-402B-AAA5-D010228BCE53}"/>
              </a:ext>
            </a:extLst>
          </p:cNvPr>
          <p:cNvCxnSpPr>
            <a:cxnSpLocks/>
            <a:stCxn id="36" idx="0"/>
            <a:endCxn id="29" idx="2"/>
          </p:cNvCxnSpPr>
          <p:nvPr/>
        </p:nvCxnSpPr>
        <p:spPr>
          <a:xfrm flipV="1">
            <a:off x="6300698" y="5106097"/>
            <a:ext cx="758098" cy="850234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2DDAA898-2043-4703-B788-95DE0D531769}"/>
              </a:ext>
            </a:extLst>
          </p:cNvPr>
          <p:cNvCxnSpPr>
            <a:cxnSpLocks/>
            <a:stCxn id="36" idx="0"/>
            <a:endCxn id="23" idx="3"/>
          </p:cNvCxnSpPr>
          <p:nvPr/>
        </p:nvCxnSpPr>
        <p:spPr>
          <a:xfrm flipH="1" flipV="1">
            <a:off x="5196218" y="5174398"/>
            <a:ext cx="1104480" cy="781933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76ADC623-2AD5-4F9C-826B-0E671BB92BB6}"/>
              </a:ext>
            </a:extLst>
          </p:cNvPr>
          <p:cNvCxnSpPr>
            <a:cxnSpLocks/>
            <a:stCxn id="35" idx="0"/>
          </p:cNvCxnSpPr>
          <p:nvPr/>
        </p:nvCxnSpPr>
        <p:spPr>
          <a:xfrm flipV="1">
            <a:off x="4201156" y="5463922"/>
            <a:ext cx="332835" cy="492409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6E4976E0-6C1B-40C7-904F-C259482B6CD7}"/>
              </a:ext>
            </a:extLst>
          </p:cNvPr>
          <p:cNvCxnSpPr>
            <a:cxnSpLocks/>
            <a:stCxn id="35" idx="0"/>
          </p:cNvCxnSpPr>
          <p:nvPr/>
        </p:nvCxnSpPr>
        <p:spPr>
          <a:xfrm flipV="1">
            <a:off x="4201156" y="5097697"/>
            <a:ext cx="221214" cy="858634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6CC702A9-73CE-4BC4-913E-226852C734F9}"/>
              </a:ext>
            </a:extLst>
          </p:cNvPr>
          <p:cNvCxnSpPr>
            <a:cxnSpLocks/>
            <a:stCxn id="35" idx="0"/>
          </p:cNvCxnSpPr>
          <p:nvPr/>
        </p:nvCxnSpPr>
        <p:spPr>
          <a:xfrm flipV="1">
            <a:off x="4201156" y="4741012"/>
            <a:ext cx="0" cy="1215319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0FEE545E-1681-4E45-8218-12ACBD8778EB}"/>
              </a:ext>
            </a:extLst>
          </p:cNvPr>
          <p:cNvCxnSpPr>
            <a:cxnSpLocks/>
            <a:stCxn id="36" idx="0"/>
            <a:endCxn id="33" idx="1"/>
          </p:cNvCxnSpPr>
          <p:nvPr/>
        </p:nvCxnSpPr>
        <p:spPr>
          <a:xfrm flipV="1">
            <a:off x="6300698" y="5626965"/>
            <a:ext cx="1659667" cy="329366"/>
          </a:xfrm>
          <a:prstGeom prst="straightConnector1">
            <a:avLst/>
          </a:prstGeom>
          <a:ln w="9525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Isosceles Triangle 43">
            <a:extLst>
              <a:ext uri="{FF2B5EF4-FFF2-40B4-BE49-F238E27FC236}">
                <a16:creationId xmlns:a16="http://schemas.microsoft.com/office/drawing/2014/main" id="{ACAA2935-3FC5-40C0-AC28-818D20BBACA3}"/>
              </a:ext>
            </a:extLst>
          </p:cNvPr>
          <p:cNvSpPr/>
          <p:nvPr/>
        </p:nvSpPr>
        <p:spPr>
          <a:xfrm rot="5400000">
            <a:off x="698050" y="4026858"/>
            <a:ext cx="3877808" cy="361102"/>
          </a:xfrm>
          <a:prstGeom prst="triangle">
            <a:avLst/>
          </a:prstGeom>
          <a:solidFill>
            <a:srgbClr val="06706D"/>
          </a:solidFill>
          <a:ln>
            <a:solidFill>
              <a:srgbClr val="0670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 err="1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D8EA1EFA-B1B9-4949-BF16-9A6792507A4B}"/>
              </a:ext>
            </a:extLst>
          </p:cNvPr>
          <p:cNvSpPr/>
          <p:nvPr/>
        </p:nvSpPr>
        <p:spPr>
          <a:xfrm>
            <a:off x="432969" y="2140383"/>
            <a:ext cx="1809984" cy="402553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JMLSG Guidelines for the standard Identification and Verification (ID&amp;V) of a private individual:</a:t>
            </a:r>
          </a:p>
          <a:p>
            <a:pPr algn="ctr"/>
            <a:endParaRPr lang="en-GB" sz="1000" dirty="0">
              <a:solidFill>
                <a:schemeClr val="tx1"/>
              </a:solidFill>
            </a:endParaRP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chemeClr val="tx1"/>
                </a:solidFill>
              </a:rPr>
              <a:t>Identification: record full name, date of birth and residential address of the individual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endParaRPr lang="en-GB" sz="1000" dirty="0">
              <a:solidFill>
                <a:schemeClr val="tx1"/>
              </a:solidFill>
            </a:endParaRP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chemeClr val="tx1"/>
                </a:solidFill>
              </a:rPr>
              <a:t>Verification: obtain documentary or electronic evidence from reliable sources, independent of the individual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endParaRPr lang="en-GB" sz="1000" dirty="0">
              <a:solidFill>
                <a:srgbClr val="06706D"/>
              </a:solidFill>
            </a:endParaRP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chemeClr val="tx1"/>
                </a:solidFill>
              </a:rPr>
              <a:t>Standard workflow: verification against document with a photo (e.g. passport) </a:t>
            </a:r>
            <a:r>
              <a:rPr lang="en-GB" sz="1000" b="1" u="sng" dirty="0">
                <a:solidFill>
                  <a:schemeClr val="tx1"/>
                </a:solidFill>
              </a:rPr>
              <a:t>and</a:t>
            </a:r>
            <a:r>
              <a:rPr lang="en-GB" sz="1000" dirty="0">
                <a:solidFill>
                  <a:schemeClr val="tx1"/>
                </a:solidFill>
              </a:rPr>
              <a:t> recent document with address (e.g. utility bill)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endParaRPr lang="en-GB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652493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8DB84379-68B0-4151-BF3D-D15456BFEFEE}"/>
              </a:ext>
            </a:extLst>
          </p:cNvPr>
          <p:cNvGraphicFramePr>
            <a:graphicFrameLocks noGrp="1"/>
          </p:cNvGraphicFramePr>
          <p:nvPr>
            <p:ph sz="quarter" idx="11"/>
          </p:nvPr>
        </p:nvGraphicFramePr>
        <p:xfrm>
          <a:off x="457200" y="1524711"/>
          <a:ext cx="8686800" cy="4744712"/>
        </p:xfrm>
        <a:graphic>
          <a:graphicData uri="http://schemas.openxmlformats.org/drawingml/2006/table">
            <a:tbl>
              <a:tblPr firstRow="1" bandRow="1">
                <a:tableStyleId>{839DD9DD-9E6C-4910-8AC0-68ADFF6A6AFC}</a:tableStyleId>
              </a:tblPr>
              <a:tblGrid>
                <a:gridCol w="1760483">
                  <a:extLst>
                    <a:ext uri="{9D8B030D-6E8A-4147-A177-3AD203B41FA5}">
                      <a16:colId xmlns:a16="http://schemas.microsoft.com/office/drawing/2014/main" val="2017736690"/>
                    </a:ext>
                  </a:extLst>
                </a:gridCol>
                <a:gridCol w="6926317">
                  <a:extLst>
                    <a:ext uri="{9D8B030D-6E8A-4147-A177-3AD203B41FA5}">
                      <a16:colId xmlns:a16="http://schemas.microsoft.com/office/drawing/2014/main" val="1908132139"/>
                    </a:ext>
                  </a:extLst>
                </a:gridCol>
              </a:tblGrid>
              <a:tr h="677816">
                <a:tc>
                  <a:txBody>
                    <a:bodyPr/>
                    <a:lstStyle/>
                    <a:p>
                      <a:r>
                        <a:rPr lang="en-GB" sz="1800" b="1" dirty="0"/>
                        <a:t>Author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800" b="0" dirty="0"/>
                        <a:t>I know that Ben is Ben, </a:t>
                      </a:r>
                      <a:r>
                        <a:rPr lang="en-GB" sz="1800" b="0" u="sng" dirty="0"/>
                        <a:t>because</a:t>
                      </a:r>
                      <a:r>
                        <a:rPr lang="en-GB" sz="1800" b="0" u="none" dirty="0"/>
                        <a:t> a trusted authority (e.g. an authorised identity provider) tells me that he is</a:t>
                      </a:r>
                      <a:endParaRPr lang="en-GB" sz="18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2619272"/>
                  </a:ext>
                </a:extLst>
              </a:tr>
              <a:tr h="677816">
                <a:tc>
                  <a:txBody>
                    <a:bodyPr/>
                    <a:lstStyle/>
                    <a:p>
                      <a:r>
                        <a:rPr lang="en-GB" sz="1800" b="1" dirty="0"/>
                        <a:t>Authorship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800" b="0" dirty="0"/>
                        <a:t>I know that Ben has a utility account with Eon, </a:t>
                      </a:r>
                      <a:r>
                        <a:rPr lang="en-GB" sz="1800" b="0" u="sng" dirty="0"/>
                        <a:t>because</a:t>
                      </a:r>
                      <a:r>
                        <a:rPr lang="en-GB" sz="1800" b="0" dirty="0"/>
                        <a:t> Eon (i.e. the author of his account) has told me that Ben has an accoun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42512095"/>
                  </a:ext>
                </a:extLst>
              </a:tr>
              <a:tr h="677816">
                <a:tc>
                  <a:txBody>
                    <a:bodyPr/>
                    <a:lstStyle/>
                    <a:p>
                      <a:r>
                        <a:rPr lang="en-GB" sz="1800" b="1" dirty="0"/>
                        <a:t>Consensu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800" b="0" dirty="0"/>
                        <a:t>I know that Ben owns this financial asset </a:t>
                      </a:r>
                      <a:r>
                        <a:rPr lang="en-GB" sz="1800" b="0" u="sng" dirty="0"/>
                        <a:t>because</a:t>
                      </a:r>
                      <a:r>
                        <a:rPr lang="en-GB" sz="1800" b="0" u="none" dirty="0"/>
                        <a:t> Parties A, B, C and D all agree that he does</a:t>
                      </a:r>
                      <a:endParaRPr lang="en-GB" sz="18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57849963"/>
                  </a:ext>
                </a:extLst>
              </a:tr>
              <a:tr h="677816">
                <a:tc>
                  <a:txBody>
                    <a:bodyPr/>
                    <a:lstStyle/>
                    <a:p>
                      <a:r>
                        <a:rPr lang="en-GB" sz="1800" b="1" dirty="0"/>
                        <a:t>Correl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800" b="0" dirty="0"/>
                        <a:t>I know that Ben lives at 30 Acacia Avenue </a:t>
                      </a:r>
                      <a:r>
                        <a:rPr lang="en-GB" sz="1800" b="0" u="sng" dirty="0"/>
                        <a:t>because</a:t>
                      </a:r>
                      <a:r>
                        <a:rPr lang="en-GB" sz="1800" b="0" dirty="0"/>
                        <a:t> his wife is registered as living at 30 Acacia Avenu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72852395"/>
                  </a:ext>
                </a:extLst>
              </a:tr>
              <a:tr h="677816">
                <a:tc>
                  <a:txBody>
                    <a:bodyPr/>
                    <a:lstStyle/>
                    <a:p>
                      <a:r>
                        <a:rPr lang="en-GB" sz="1800" b="1" dirty="0"/>
                        <a:t>Attest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800" b="0" dirty="0"/>
                        <a:t>I know that this photo is a true likeness of Ben </a:t>
                      </a:r>
                      <a:r>
                        <a:rPr lang="en-GB" sz="1800" b="0" i="0" u="sng" dirty="0"/>
                        <a:t>because</a:t>
                      </a:r>
                      <a:r>
                        <a:rPr lang="en-GB" sz="1800" b="0" dirty="0"/>
                        <a:t> two independent witnesses have signed and attested it to be as such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12133939"/>
                  </a:ext>
                </a:extLst>
              </a:tr>
              <a:tr h="6778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/>
                        <a:t>Usag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800" b="0" dirty="0"/>
                        <a:t>I know that Ben’s mobile phone number is 07777 123456 </a:t>
                      </a:r>
                      <a:r>
                        <a:rPr lang="en-GB" sz="1800" b="0" u="sng" dirty="0"/>
                        <a:t>because</a:t>
                      </a:r>
                      <a:r>
                        <a:rPr lang="en-GB" sz="1800" b="0" dirty="0"/>
                        <a:t> it has been used to respond successfully to several OTP check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11570062"/>
                  </a:ext>
                </a:extLst>
              </a:tr>
              <a:tr h="6778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/>
                        <a:t>Inferen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800" b="0" dirty="0"/>
                        <a:t>I know that Ben is over 16 years old </a:t>
                      </a:r>
                      <a:r>
                        <a:rPr lang="en-GB" sz="1800" b="0" u="sng" dirty="0"/>
                        <a:t>because</a:t>
                      </a:r>
                      <a:r>
                        <a:rPr lang="en-GB" sz="1800" b="0" dirty="0"/>
                        <a:t> he has grey hair, a beard, bi-focal glasses, wrinkles and a stooped gai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02319453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D29469E9-DDCF-4AA2-9424-CE31EBBF87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63028"/>
            <a:ext cx="8686800" cy="758952"/>
          </a:xfrm>
        </p:spPr>
        <p:txBody>
          <a:bodyPr/>
          <a:lstStyle/>
          <a:p>
            <a:r>
              <a:rPr lang="en-GB" sz="2400" b="1" dirty="0"/>
              <a:t>As an Event Consumer, I am able to…:</a:t>
            </a:r>
            <a:br>
              <a:rPr lang="en-GB" sz="2400" dirty="0"/>
            </a:br>
            <a:r>
              <a:rPr lang="en-GB" sz="2400" dirty="0"/>
              <a:t>Develop different reasoning models, and to publish outcomes</a:t>
            </a:r>
          </a:p>
        </p:txBody>
      </p:sp>
    </p:spTree>
    <p:extLst>
      <p:ext uri="{BB962C8B-B14F-4D97-AF65-F5344CB8AC3E}">
        <p14:creationId xmlns:p14="http://schemas.microsoft.com/office/powerpoint/2010/main" val="28807280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EDD0E27-5796-408E-B098-F4370CC811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b="1" dirty="0">
                <a:solidFill>
                  <a:schemeClr val="tx1"/>
                </a:solidFill>
              </a:rPr>
              <a:t>As an Event Producer, I am able to…:</a:t>
            </a:r>
            <a:br>
              <a:rPr lang="en-GB" sz="2400" dirty="0">
                <a:solidFill>
                  <a:schemeClr val="tx1"/>
                </a:solidFill>
              </a:rPr>
            </a:br>
            <a:r>
              <a:rPr lang="en-GB" sz="2400" dirty="0">
                <a:solidFill>
                  <a:schemeClr val="tx1"/>
                </a:solidFill>
              </a:rPr>
              <a:t>Offer customers a valuable new service to manage their data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39A8942-EB94-4D03-B106-80C3CA1A0366}"/>
              </a:ext>
            </a:extLst>
          </p:cNvPr>
          <p:cNvSpPr txBox="1">
            <a:spLocks/>
          </p:cNvSpPr>
          <p:nvPr/>
        </p:nvSpPr>
        <p:spPr>
          <a:xfrm>
            <a:off x="383631" y="2030807"/>
            <a:ext cx="4367803" cy="4429186"/>
          </a:xfrm>
          <a:prstGeom prst="rect">
            <a:avLst/>
          </a:prstGeom>
        </p:spPr>
        <p:txBody>
          <a:bodyPr/>
          <a:lstStyle>
            <a:lvl1pPr marL="182880" indent="-18288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49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237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11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899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187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475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8488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dirty="0"/>
              <a:t>Manage authorisations and consents</a:t>
            </a:r>
          </a:p>
          <a:p>
            <a:pPr lvl="1"/>
            <a:r>
              <a:rPr lang="en-GB" sz="1200" dirty="0"/>
              <a:t>For use within an institution</a:t>
            </a:r>
          </a:p>
          <a:p>
            <a:pPr lvl="1"/>
            <a:r>
              <a:rPr lang="en-GB" sz="1200" dirty="0"/>
              <a:t>For use externally</a:t>
            </a:r>
          </a:p>
          <a:p>
            <a:r>
              <a:rPr lang="en-GB" sz="1200" dirty="0"/>
              <a:t>Customer access to:</a:t>
            </a:r>
          </a:p>
          <a:p>
            <a:pPr lvl="1"/>
            <a:r>
              <a:rPr lang="en-GB" sz="1200" dirty="0"/>
              <a:t>A history of communications</a:t>
            </a:r>
          </a:p>
          <a:p>
            <a:pPr lvl="1"/>
            <a:r>
              <a:rPr lang="en-GB" sz="1200" dirty="0"/>
              <a:t>A history of activity</a:t>
            </a:r>
          </a:p>
          <a:p>
            <a:r>
              <a:rPr lang="en-GB" sz="1200" dirty="0"/>
              <a:t>Notification of:</a:t>
            </a:r>
          </a:p>
          <a:p>
            <a:pPr lvl="1"/>
            <a:r>
              <a:rPr lang="en-GB" sz="1200" dirty="0"/>
              <a:t>Request for outstanding action</a:t>
            </a:r>
          </a:p>
          <a:p>
            <a:pPr lvl="1"/>
            <a:r>
              <a:rPr lang="en-GB" sz="1200" dirty="0"/>
              <a:t>Confirmation of completed action</a:t>
            </a:r>
          </a:p>
          <a:p>
            <a:r>
              <a:rPr lang="en-GB" sz="1200" dirty="0"/>
              <a:t>View and manage Available Profile:</a:t>
            </a:r>
          </a:p>
          <a:p>
            <a:pPr lvl="1"/>
            <a:r>
              <a:rPr lang="en-GB" sz="1200" dirty="0"/>
              <a:t>Add </a:t>
            </a:r>
          </a:p>
          <a:p>
            <a:pPr lvl="1"/>
            <a:r>
              <a:rPr lang="en-GB" sz="1200" dirty="0"/>
              <a:t>Confirm</a:t>
            </a:r>
          </a:p>
          <a:p>
            <a:pPr lvl="1"/>
            <a:r>
              <a:rPr lang="en-GB" sz="1200" dirty="0"/>
              <a:t>Amend</a:t>
            </a:r>
          </a:p>
          <a:p>
            <a:pPr lvl="1"/>
            <a:r>
              <a:rPr lang="en-GB" sz="1200" dirty="0"/>
              <a:t>Delete</a:t>
            </a:r>
            <a:endParaRPr lang="en-GB" sz="1200" baseline="30000" dirty="0"/>
          </a:p>
          <a:p>
            <a:r>
              <a:rPr lang="en-GB" sz="1200" dirty="0"/>
              <a:t>View and manage evidence package:</a:t>
            </a:r>
          </a:p>
          <a:p>
            <a:pPr lvl="1"/>
            <a:r>
              <a:rPr lang="en-GB" sz="1200" dirty="0"/>
              <a:t>Take photo / selfie</a:t>
            </a:r>
          </a:p>
          <a:p>
            <a:pPr lvl="1"/>
            <a:r>
              <a:rPr lang="en-GB" sz="1200" dirty="0"/>
              <a:t>Upload document</a:t>
            </a:r>
          </a:p>
          <a:p>
            <a:pPr lvl="1"/>
            <a:r>
              <a:rPr lang="en-GB" sz="1200" dirty="0"/>
              <a:t>Authorise access to data from another account</a:t>
            </a:r>
          </a:p>
        </p:txBody>
      </p:sp>
      <p:sp>
        <p:nvSpPr>
          <p:cNvPr id="16" name="Title 4">
            <a:extLst>
              <a:ext uri="{FF2B5EF4-FFF2-40B4-BE49-F238E27FC236}">
                <a16:creationId xmlns:a16="http://schemas.microsoft.com/office/drawing/2014/main" id="{B99DCC21-68E4-4D49-80DF-0D77EC04B189}"/>
              </a:ext>
            </a:extLst>
          </p:cNvPr>
          <p:cNvSpPr txBox="1">
            <a:spLocks/>
          </p:cNvSpPr>
          <p:nvPr/>
        </p:nvSpPr>
        <p:spPr>
          <a:xfrm>
            <a:off x="383630" y="1514053"/>
            <a:ext cx="4948221" cy="34664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b="1" dirty="0"/>
              <a:t>Example data management functionality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2934FCC-7CA7-4D2D-A407-9DAF2E27B1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20949" y="2184164"/>
            <a:ext cx="2125250" cy="4122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85275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EDD0E27-5796-408E-B098-F4370CC811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b="1" dirty="0">
                <a:solidFill>
                  <a:schemeClr val="tx1"/>
                </a:solidFill>
              </a:rPr>
              <a:t>As an Ecosystem Participant, I am able to…:</a:t>
            </a:r>
            <a:br>
              <a:rPr lang="en-GB" sz="2400" dirty="0">
                <a:solidFill>
                  <a:schemeClr val="tx1"/>
                </a:solidFill>
              </a:rPr>
            </a:br>
            <a:r>
              <a:rPr lang="en-GB" sz="2400" dirty="0">
                <a:solidFill>
                  <a:schemeClr val="tx1"/>
                </a:solidFill>
              </a:rPr>
              <a:t>Give my customers tools to manage Events relating to them</a:t>
            </a:r>
          </a:p>
        </p:txBody>
      </p:sp>
      <p:sp>
        <p:nvSpPr>
          <p:cNvPr id="229" name="Freeform 6">
            <a:extLst>
              <a:ext uri="{FF2B5EF4-FFF2-40B4-BE49-F238E27FC236}">
                <a16:creationId xmlns:a16="http://schemas.microsoft.com/office/drawing/2014/main" id="{452BAD72-D28F-475E-B80E-A0BEA374B8C2}"/>
              </a:ext>
            </a:extLst>
          </p:cNvPr>
          <p:cNvSpPr/>
          <p:nvPr/>
        </p:nvSpPr>
        <p:spPr>
          <a:xfrm rot="5400000">
            <a:off x="6975448" y="3842329"/>
            <a:ext cx="284164" cy="539751"/>
          </a:xfrm>
          <a:custGeom>
            <a:avLst/>
            <a:gdLst/>
            <a:ahLst/>
            <a:cxnLst/>
            <a:rect l="0" t="0" r="0" b="0"/>
            <a:pathLst>
              <a:path w="284164" h="539751">
                <a:moveTo>
                  <a:pt x="0" y="0"/>
                </a:moveTo>
                <a:lnTo>
                  <a:pt x="0" y="133350"/>
                </a:lnTo>
                <a:lnTo>
                  <a:pt x="138113" y="269875"/>
                </a:lnTo>
                <a:lnTo>
                  <a:pt x="0" y="412750"/>
                </a:lnTo>
                <a:lnTo>
                  <a:pt x="0" y="539750"/>
                </a:lnTo>
                <a:lnTo>
                  <a:pt x="284163" y="269875"/>
                </a:lnTo>
                <a:close/>
              </a:path>
            </a:pathLst>
          </a:custGeom>
          <a:solidFill>
            <a:srgbClr val="06706D"/>
          </a:solidFill>
          <a:ln w="9525" cap="flat" cmpd="sng" algn="ctr">
            <a:solidFill>
              <a:schemeClr val="accent3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C6898A5-E663-463A-8CE8-7CE76A77D9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67367" y="1338139"/>
            <a:ext cx="2294552" cy="2275550"/>
          </a:xfrm>
          <a:prstGeom prst="rect">
            <a:avLst/>
          </a:prstGeom>
        </p:spPr>
      </p:pic>
      <p:pic>
        <p:nvPicPr>
          <p:cNvPr id="111" name="Picture 110">
            <a:extLst>
              <a:ext uri="{FF2B5EF4-FFF2-40B4-BE49-F238E27FC236}">
                <a16:creationId xmlns:a16="http://schemas.microsoft.com/office/drawing/2014/main" id="{4B2F7425-B4A7-4F96-839E-B7FAF4D58DB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170" t="9538" r="11403" b="25008"/>
          <a:stretch/>
        </p:blipFill>
        <p:spPr>
          <a:xfrm>
            <a:off x="365757" y="1899800"/>
            <a:ext cx="4292062" cy="2388060"/>
          </a:xfrm>
          <a:prstGeom prst="rect">
            <a:avLst/>
          </a:prstGeom>
        </p:spPr>
      </p:pic>
      <p:cxnSp>
        <p:nvCxnSpPr>
          <p:cNvPr id="113" name="Straight Arrow Connector 112">
            <a:extLst>
              <a:ext uri="{FF2B5EF4-FFF2-40B4-BE49-F238E27FC236}">
                <a16:creationId xmlns:a16="http://schemas.microsoft.com/office/drawing/2014/main" id="{9D532EA5-08A9-4607-900F-E16B654CAFA2}"/>
              </a:ext>
            </a:extLst>
          </p:cNvPr>
          <p:cNvCxnSpPr>
            <a:cxnSpLocks/>
          </p:cNvCxnSpPr>
          <p:nvPr/>
        </p:nvCxnSpPr>
        <p:spPr>
          <a:xfrm flipH="1" flipV="1">
            <a:off x="989705" y="2312894"/>
            <a:ext cx="1260000" cy="2628000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Arrow Connector 113">
            <a:extLst>
              <a:ext uri="{FF2B5EF4-FFF2-40B4-BE49-F238E27FC236}">
                <a16:creationId xmlns:a16="http://schemas.microsoft.com/office/drawing/2014/main" id="{CCE12708-72E1-4BDD-9F67-DC2AAE6BFB4A}"/>
              </a:ext>
            </a:extLst>
          </p:cNvPr>
          <p:cNvCxnSpPr>
            <a:cxnSpLocks/>
          </p:cNvCxnSpPr>
          <p:nvPr/>
        </p:nvCxnSpPr>
        <p:spPr>
          <a:xfrm flipV="1">
            <a:off x="903885" y="4152452"/>
            <a:ext cx="0" cy="1188000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03A0FAA4-EF6C-4157-8AE6-D32EFAFA361C}"/>
              </a:ext>
            </a:extLst>
          </p:cNvPr>
          <p:cNvCxnSpPr>
            <a:cxnSpLocks/>
          </p:cNvCxnSpPr>
          <p:nvPr/>
        </p:nvCxnSpPr>
        <p:spPr>
          <a:xfrm flipV="1">
            <a:off x="3094859" y="3469341"/>
            <a:ext cx="0" cy="1152000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Arrow Connector 116">
            <a:extLst>
              <a:ext uri="{FF2B5EF4-FFF2-40B4-BE49-F238E27FC236}">
                <a16:creationId xmlns:a16="http://schemas.microsoft.com/office/drawing/2014/main" id="{D09C47A6-15F2-444D-98AD-DA29AF94A55F}"/>
              </a:ext>
            </a:extLst>
          </p:cNvPr>
          <p:cNvCxnSpPr>
            <a:cxnSpLocks/>
          </p:cNvCxnSpPr>
          <p:nvPr/>
        </p:nvCxnSpPr>
        <p:spPr>
          <a:xfrm flipV="1">
            <a:off x="3876581" y="2147943"/>
            <a:ext cx="0" cy="2160000"/>
          </a:xfrm>
          <a:prstGeom prst="straightConnector1">
            <a:avLst/>
          </a:prstGeom>
          <a:ln w="9525">
            <a:solidFill>
              <a:schemeClr val="accent3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TextBox 117">
            <a:extLst>
              <a:ext uri="{FF2B5EF4-FFF2-40B4-BE49-F238E27FC236}">
                <a16:creationId xmlns:a16="http://schemas.microsoft.com/office/drawing/2014/main" id="{7A129E84-4FC7-42D0-862F-AA86B80EC9A3}"/>
              </a:ext>
            </a:extLst>
          </p:cNvPr>
          <p:cNvSpPr txBox="1"/>
          <p:nvPr/>
        </p:nvSpPr>
        <p:spPr>
          <a:xfrm>
            <a:off x="3394077" y="4390774"/>
            <a:ext cx="96500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400" dirty="0"/>
              <a:t>User control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129F441C-0402-41A6-A65C-7CAA70526926}"/>
              </a:ext>
            </a:extLst>
          </p:cNvPr>
          <p:cNvSpPr txBox="1"/>
          <p:nvPr/>
        </p:nvSpPr>
        <p:spPr>
          <a:xfrm>
            <a:off x="2722094" y="4718348"/>
            <a:ext cx="74699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400" dirty="0"/>
              <a:t>Audit trail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675144E1-6F9C-4AB5-8408-2235B046C6B1}"/>
              </a:ext>
            </a:extLst>
          </p:cNvPr>
          <p:cNvSpPr txBox="1"/>
          <p:nvPr/>
        </p:nvSpPr>
        <p:spPr>
          <a:xfrm>
            <a:off x="1883067" y="5084621"/>
            <a:ext cx="189955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400" dirty="0"/>
              <a:t>Distributed data storage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09AAF594-CB1C-4D84-990F-33D6DB811204}"/>
              </a:ext>
            </a:extLst>
          </p:cNvPr>
          <p:cNvSpPr txBox="1"/>
          <p:nvPr/>
        </p:nvSpPr>
        <p:spPr>
          <a:xfrm>
            <a:off x="502023" y="5437173"/>
            <a:ext cx="330513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400" dirty="0"/>
              <a:t>Trust scores (e.g. from Service Providers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55BEDCF-2B2A-4F96-87CB-B56E8A3C9D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58171" y="4609843"/>
            <a:ext cx="1803770" cy="1654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02940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9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E03AF81-C1F0-4B78-9097-1D4ADAD18D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84048"/>
            <a:ext cx="8686800" cy="758952"/>
          </a:xfrm>
        </p:spPr>
        <p:txBody>
          <a:bodyPr/>
          <a:lstStyle/>
          <a:p>
            <a:r>
              <a:rPr lang="en-GB" sz="2400" b="1" dirty="0"/>
              <a:t>As a (trusted) Expert System (service), I am able to…:</a:t>
            </a:r>
            <a:br>
              <a:rPr lang="en-GB" sz="2400" b="1" dirty="0"/>
            </a:br>
            <a:r>
              <a:rPr lang="en-GB" sz="2400" dirty="0"/>
              <a:t>Earn a return on effort to store and manage access to Events</a:t>
            </a:r>
            <a:endParaRPr lang="en-GB" sz="2400" b="1" dirty="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7E706268-4F7A-4B7D-B34A-B7BE118D86CC}"/>
              </a:ext>
            </a:extLst>
          </p:cNvPr>
          <p:cNvSpPr/>
          <p:nvPr/>
        </p:nvSpPr>
        <p:spPr>
          <a:xfrm>
            <a:off x="742092" y="2030283"/>
            <a:ext cx="792000" cy="792000"/>
          </a:xfrm>
          <a:prstGeom prst="ellipse">
            <a:avLst/>
          </a:prstGeom>
          <a:solidFill>
            <a:srgbClr val="BDDDA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200" dirty="0" err="1">
                <a:solidFill>
                  <a:schemeClr val="tx1"/>
                </a:solidFill>
              </a:rPr>
              <a:t>Parti-cipant</a:t>
            </a:r>
            <a:r>
              <a:rPr lang="en-GB" sz="1200" dirty="0">
                <a:solidFill>
                  <a:schemeClr val="tx1"/>
                </a:solidFill>
              </a:rPr>
              <a:t> </a:t>
            </a:r>
            <a:r>
              <a:rPr lang="en-GB" sz="14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D525FEF3-EC95-404C-9127-AE09E11FC6F4}"/>
              </a:ext>
            </a:extLst>
          </p:cNvPr>
          <p:cNvSpPr/>
          <p:nvPr/>
        </p:nvSpPr>
        <p:spPr>
          <a:xfrm>
            <a:off x="3301360" y="2033749"/>
            <a:ext cx="792000" cy="792000"/>
          </a:xfrm>
          <a:prstGeom prst="ellipse">
            <a:avLst/>
          </a:prstGeom>
          <a:solidFill>
            <a:srgbClr val="BDDDA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200" dirty="0" err="1">
                <a:solidFill>
                  <a:schemeClr val="tx1"/>
                </a:solidFill>
              </a:rPr>
              <a:t>Parti-cipant</a:t>
            </a:r>
            <a:r>
              <a:rPr lang="en-GB" sz="1200" dirty="0">
                <a:solidFill>
                  <a:schemeClr val="tx1"/>
                </a:solidFill>
              </a:rPr>
              <a:t> </a:t>
            </a:r>
            <a:r>
              <a:rPr lang="en-GB" sz="14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A4E8AC5-D34F-490F-80B9-FF108376621C}"/>
              </a:ext>
            </a:extLst>
          </p:cNvPr>
          <p:cNvSpPr/>
          <p:nvPr/>
        </p:nvSpPr>
        <p:spPr>
          <a:xfrm>
            <a:off x="724092" y="3899334"/>
            <a:ext cx="828000" cy="792000"/>
          </a:xfrm>
          <a:prstGeom prst="rect">
            <a:avLst/>
          </a:prstGeom>
          <a:solidFill>
            <a:srgbClr val="C5CAE7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Expert System </a:t>
            </a:r>
          </a:p>
          <a:p>
            <a:pPr algn="ctr"/>
            <a:r>
              <a:rPr lang="en-GB" sz="1200" dirty="0">
                <a:solidFill>
                  <a:schemeClr val="tx1"/>
                </a:solidFill>
              </a:rPr>
              <a:t>C</a:t>
            </a:r>
          </a:p>
        </p:txBody>
      </p: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3BB04A80-5454-4C51-BDF4-C8CD9441CB58}"/>
              </a:ext>
            </a:extLst>
          </p:cNvPr>
          <p:cNvCxnSpPr>
            <a:cxnSpLocks/>
            <a:stCxn id="37" idx="0"/>
            <a:endCxn id="25" idx="4"/>
          </p:cNvCxnSpPr>
          <p:nvPr/>
        </p:nvCxnSpPr>
        <p:spPr>
          <a:xfrm rot="16200000" flipV="1">
            <a:off x="3160021" y="3363089"/>
            <a:ext cx="1079935" cy="5255"/>
          </a:xfrm>
          <a:prstGeom prst="bentConnector3">
            <a:avLst>
              <a:gd name="adj1" fmla="val 50000"/>
            </a:avLst>
          </a:prstGeom>
          <a:ln w="9525">
            <a:solidFill>
              <a:schemeClr val="accent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F8F5E71C-8C0F-4C0F-88C4-0D29FC8D6917}"/>
              </a:ext>
            </a:extLst>
          </p:cNvPr>
          <p:cNvCxnSpPr>
            <a:cxnSpLocks/>
            <a:stCxn id="26" idx="0"/>
            <a:endCxn id="24" idx="4"/>
          </p:cNvCxnSpPr>
          <p:nvPr/>
        </p:nvCxnSpPr>
        <p:spPr>
          <a:xfrm rot="5400000" flipH="1" flipV="1">
            <a:off x="599567" y="3360809"/>
            <a:ext cx="1077051" cy="12700"/>
          </a:xfrm>
          <a:prstGeom prst="bentConnector3">
            <a:avLst>
              <a:gd name="adj1" fmla="val 50000"/>
            </a:avLst>
          </a:prstGeom>
          <a:ln w="9525">
            <a:solidFill>
              <a:schemeClr val="accent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28C9F13D-D12F-4C01-9FFF-4847E4A394DA}"/>
              </a:ext>
            </a:extLst>
          </p:cNvPr>
          <p:cNvCxnSpPr>
            <a:cxnSpLocks/>
            <a:stCxn id="24" idx="6"/>
            <a:endCxn id="25" idx="2"/>
          </p:cNvCxnSpPr>
          <p:nvPr/>
        </p:nvCxnSpPr>
        <p:spPr>
          <a:xfrm>
            <a:off x="1534092" y="2426283"/>
            <a:ext cx="1767268" cy="3466"/>
          </a:xfrm>
          <a:prstGeom prst="bentConnector3">
            <a:avLst>
              <a:gd name="adj1" fmla="val 50000"/>
            </a:avLst>
          </a:prstGeom>
          <a:ln w="9525">
            <a:solidFill>
              <a:schemeClr val="accent3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04AECB00-ACA8-4C13-8F2B-321599657054}"/>
              </a:ext>
            </a:extLst>
          </p:cNvPr>
          <p:cNvSpPr/>
          <p:nvPr/>
        </p:nvSpPr>
        <p:spPr>
          <a:xfrm>
            <a:off x="3288615" y="3905684"/>
            <a:ext cx="828000" cy="792000"/>
          </a:xfrm>
          <a:prstGeom prst="rect">
            <a:avLst/>
          </a:prstGeom>
          <a:solidFill>
            <a:srgbClr val="C5CAE7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Expert System </a:t>
            </a:r>
          </a:p>
          <a:p>
            <a:pPr algn="ctr"/>
            <a:r>
              <a:rPr lang="en-GB" sz="1200" dirty="0">
                <a:solidFill>
                  <a:schemeClr val="tx1"/>
                </a:solidFill>
              </a:rPr>
              <a:t>D</a:t>
            </a:r>
            <a:endParaRPr lang="en-GB" sz="1400" dirty="0">
              <a:solidFill>
                <a:schemeClr val="tx1"/>
              </a:solidFill>
            </a:endParaRPr>
          </a:p>
        </p:txBody>
      </p:sp>
      <p:cxnSp>
        <p:nvCxnSpPr>
          <p:cNvPr id="39" name="Connector: Elbow 38">
            <a:extLst>
              <a:ext uri="{FF2B5EF4-FFF2-40B4-BE49-F238E27FC236}">
                <a16:creationId xmlns:a16="http://schemas.microsoft.com/office/drawing/2014/main" id="{AA3A5BC3-E469-4596-990B-00E36A174C5A}"/>
              </a:ext>
            </a:extLst>
          </p:cNvPr>
          <p:cNvCxnSpPr>
            <a:cxnSpLocks/>
            <a:stCxn id="46" idx="3"/>
            <a:endCxn id="26" idx="2"/>
          </p:cNvCxnSpPr>
          <p:nvPr/>
        </p:nvCxnSpPr>
        <p:spPr>
          <a:xfrm rot="10800000">
            <a:off x="1138092" y="4691335"/>
            <a:ext cx="739282" cy="1335091"/>
          </a:xfrm>
          <a:prstGeom prst="bentConnector2">
            <a:avLst/>
          </a:prstGeom>
          <a:ln w="9525">
            <a:solidFill>
              <a:schemeClr val="accent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1648CF77-289A-4673-8296-E43F4772C9AF}"/>
              </a:ext>
            </a:extLst>
          </p:cNvPr>
          <p:cNvCxnSpPr>
            <a:cxnSpLocks/>
            <a:stCxn id="46" idx="0"/>
            <a:endCxn id="37" idx="2"/>
          </p:cNvCxnSpPr>
          <p:nvPr/>
        </p:nvCxnSpPr>
        <p:spPr>
          <a:xfrm flipV="1">
            <a:off x="2917446" y="4697684"/>
            <a:ext cx="785169" cy="1328741"/>
          </a:xfrm>
          <a:prstGeom prst="bentConnector2">
            <a:avLst/>
          </a:prstGeom>
          <a:ln w="9525">
            <a:solidFill>
              <a:schemeClr val="accent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Hexagon 45">
            <a:extLst>
              <a:ext uri="{FF2B5EF4-FFF2-40B4-BE49-F238E27FC236}">
                <a16:creationId xmlns:a16="http://schemas.microsoft.com/office/drawing/2014/main" id="{A5B24BEA-0A6F-4598-80E4-AD3DAEAB93C8}"/>
              </a:ext>
            </a:extLst>
          </p:cNvPr>
          <p:cNvSpPr/>
          <p:nvPr/>
        </p:nvSpPr>
        <p:spPr>
          <a:xfrm>
            <a:off x="1877374" y="5666425"/>
            <a:ext cx="1040072" cy="720000"/>
          </a:xfrm>
          <a:prstGeom prst="hexagon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Syntax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A471D8DF-3664-4C25-83D8-FA7D6DA5D815}"/>
              </a:ext>
            </a:extLst>
          </p:cNvPr>
          <p:cNvSpPr txBox="1"/>
          <p:nvPr/>
        </p:nvSpPr>
        <p:spPr>
          <a:xfrm>
            <a:off x="494289" y="3286717"/>
            <a:ext cx="1247136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GB" sz="1200" dirty="0"/>
              <a:t>…contracts with…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793590DE-BE3B-4D40-A4CF-FEDFE0FB1913}"/>
              </a:ext>
            </a:extLst>
          </p:cNvPr>
          <p:cNvSpPr txBox="1"/>
          <p:nvPr/>
        </p:nvSpPr>
        <p:spPr>
          <a:xfrm>
            <a:off x="3058812" y="3268219"/>
            <a:ext cx="1247136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GB" sz="1200" dirty="0"/>
              <a:t>…contracts with…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A1A61D7-82B3-4654-8C05-A78206A78490}"/>
              </a:ext>
            </a:extLst>
          </p:cNvPr>
          <p:cNvSpPr txBox="1"/>
          <p:nvPr/>
        </p:nvSpPr>
        <p:spPr>
          <a:xfrm>
            <a:off x="1792402" y="2110324"/>
            <a:ext cx="134011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dirty="0"/>
              <a:t>...exchanges with…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45CD8F6B-6738-472B-9201-F67FE4870402}"/>
              </a:ext>
            </a:extLst>
          </p:cNvPr>
          <p:cNvSpPr txBox="1"/>
          <p:nvPr/>
        </p:nvSpPr>
        <p:spPr>
          <a:xfrm>
            <a:off x="519672" y="5089722"/>
            <a:ext cx="1227900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GB" sz="1200" dirty="0"/>
              <a:t>…complies with…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095AFDE-FA39-4C02-9177-61A428B4F4BF}"/>
              </a:ext>
            </a:extLst>
          </p:cNvPr>
          <p:cNvSpPr txBox="1"/>
          <p:nvPr/>
        </p:nvSpPr>
        <p:spPr>
          <a:xfrm>
            <a:off x="3085087" y="5083384"/>
            <a:ext cx="1227900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GB" sz="1200" dirty="0"/>
              <a:t>…complies with…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2187EF77-23B7-44A8-AE19-24385A412085}"/>
              </a:ext>
            </a:extLst>
          </p:cNvPr>
          <p:cNvSpPr txBox="1"/>
          <p:nvPr/>
        </p:nvSpPr>
        <p:spPr>
          <a:xfrm>
            <a:off x="494289" y="1456325"/>
            <a:ext cx="166712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b="1" dirty="0"/>
              <a:t>4-corner model</a:t>
            </a:r>
          </a:p>
        </p:txBody>
      </p: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25037759-D222-494A-8D00-17E7F0097F7D}"/>
              </a:ext>
            </a:extLst>
          </p:cNvPr>
          <p:cNvCxnSpPr>
            <a:cxnSpLocks/>
            <a:stCxn id="26" idx="3"/>
            <a:endCxn id="37" idx="1"/>
          </p:cNvCxnSpPr>
          <p:nvPr/>
        </p:nvCxnSpPr>
        <p:spPr>
          <a:xfrm>
            <a:off x="1552092" y="4295334"/>
            <a:ext cx="1736523" cy="6350"/>
          </a:xfrm>
          <a:prstGeom prst="bentConnector3">
            <a:avLst>
              <a:gd name="adj1" fmla="val 50000"/>
            </a:avLst>
          </a:prstGeom>
          <a:ln w="9525">
            <a:solidFill>
              <a:schemeClr val="accent3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CAC6E615-CB20-4C48-AA3A-7F8638ED540F}"/>
              </a:ext>
            </a:extLst>
          </p:cNvPr>
          <p:cNvSpPr txBox="1"/>
          <p:nvPr/>
        </p:nvSpPr>
        <p:spPr>
          <a:xfrm>
            <a:off x="1639506" y="4028648"/>
            <a:ext cx="164590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dirty="0"/>
              <a:t>...communicates with…</a:t>
            </a:r>
          </a:p>
        </p:txBody>
      </p:sp>
      <p:sp>
        <p:nvSpPr>
          <p:cNvPr id="40" name="Content Placeholder 1">
            <a:extLst>
              <a:ext uri="{FF2B5EF4-FFF2-40B4-BE49-F238E27FC236}">
                <a16:creationId xmlns:a16="http://schemas.microsoft.com/office/drawing/2014/main" id="{C998B8DE-92CE-4EB8-9F74-57A864125271}"/>
              </a:ext>
            </a:extLst>
          </p:cNvPr>
          <p:cNvSpPr txBox="1">
            <a:spLocks/>
          </p:cNvSpPr>
          <p:nvPr/>
        </p:nvSpPr>
        <p:spPr>
          <a:xfrm>
            <a:off x="4407408" y="1883664"/>
            <a:ext cx="4736592" cy="4443984"/>
          </a:xfrm>
          <a:prstGeom prst="rect">
            <a:avLst/>
          </a:prstGeom>
        </p:spPr>
        <p:txBody>
          <a:bodyPr/>
          <a:lstStyle>
            <a:lvl1pPr marL="182880" indent="-18288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61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49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2376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11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899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187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4752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8488" indent="-18288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/>
              <a:t>Directory: </a:t>
            </a:r>
            <a:r>
              <a:rPr lang="en-US" sz="1600" dirty="0"/>
              <a:t>allows participants to publish the availability of data and services, and for other users to discover and consume them</a:t>
            </a:r>
          </a:p>
          <a:p>
            <a:r>
              <a:rPr lang="en-US" sz="1600" b="1" dirty="0"/>
              <a:t>Relationship mapping:</a:t>
            </a:r>
            <a:r>
              <a:rPr lang="en-US" sz="1600" dirty="0"/>
              <a:t> enables participants to assert linkages between attributes and entities; map is amenable to graph theory </a:t>
            </a:r>
          </a:p>
          <a:p>
            <a:r>
              <a:rPr lang="en-US" sz="1600" b="1" dirty="0"/>
              <a:t>Event Store:</a:t>
            </a:r>
            <a:r>
              <a:rPr lang="en-US" sz="1600" dirty="0"/>
              <a:t> captures a complete and immutable audit trail of activity that is vital to compliance, assurance and governance</a:t>
            </a:r>
          </a:p>
          <a:p>
            <a:r>
              <a:rPr lang="en-US" sz="1600" b="1" dirty="0" err="1"/>
              <a:t>Permissioning</a:t>
            </a:r>
            <a:r>
              <a:rPr lang="en-US" sz="1600" b="1" dirty="0"/>
              <a:t>: </a:t>
            </a:r>
            <a:r>
              <a:rPr lang="en-US" sz="1600" dirty="0"/>
              <a:t>manages </a:t>
            </a:r>
            <a:r>
              <a:rPr lang="en-US" sz="1600" dirty="0" err="1"/>
              <a:t>authorisations</a:t>
            </a:r>
            <a:r>
              <a:rPr lang="en-US" sz="1600" dirty="0"/>
              <a:t> at a field level; handles complex B2B situations; offers data owners a single point of control</a:t>
            </a:r>
          </a:p>
          <a:p>
            <a:r>
              <a:rPr lang="en-US" sz="1600" b="1" dirty="0"/>
              <a:t>Value-added services:</a:t>
            </a:r>
            <a:r>
              <a:rPr lang="en-US" sz="1600" dirty="0"/>
              <a:t> </a:t>
            </a:r>
            <a:r>
              <a:rPr lang="en-GB" sz="1600" dirty="0"/>
              <a:t>including e.g. template access requests, asynchronous routing, attestation / comments, watch / notification services, pricing of resources, etc.</a:t>
            </a:r>
          </a:p>
        </p:txBody>
      </p:sp>
    </p:spTree>
    <p:extLst>
      <p:ext uri="{BB962C8B-B14F-4D97-AF65-F5344CB8AC3E}">
        <p14:creationId xmlns:p14="http://schemas.microsoft.com/office/powerpoint/2010/main" val="8503964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  <p:bldP spid="26" grpId="0" animBg="1"/>
      <p:bldP spid="37" grpId="0" animBg="1"/>
      <p:bldP spid="46" grpId="0" animBg="1"/>
      <p:bldP spid="55" grpId="0" animBg="1"/>
      <p:bldP spid="56" grpId="0" animBg="1"/>
      <p:bldP spid="57" grpId="0"/>
      <p:bldP spid="59" grpId="0" animBg="1"/>
      <p:bldP spid="60" grpId="0" animBg="1"/>
      <p:bldP spid="62" grpId="0"/>
      <p:bldP spid="33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972A32-92DB-423F-83A0-4C67D4666E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34146" y="2934392"/>
            <a:ext cx="6106679" cy="576293"/>
          </a:xfrm>
        </p:spPr>
        <p:txBody>
          <a:bodyPr/>
          <a:lstStyle/>
          <a:p>
            <a:r>
              <a:rPr lang="en-GB" dirty="0"/>
              <a:t>Target use cas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554B6B-C02F-49CA-A0A6-CB3CA82CC1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ection 3</a:t>
            </a:r>
          </a:p>
        </p:txBody>
      </p:sp>
    </p:spTree>
    <p:extLst>
      <p:ext uri="{BB962C8B-B14F-4D97-AF65-F5344CB8AC3E}">
        <p14:creationId xmlns:p14="http://schemas.microsoft.com/office/powerpoint/2010/main" val="188932385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44FF76E-AB33-4297-A829-5FCE683A85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Domain knowledge – configuration of a ship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4D14C29-BC9B-4AF1-AC40-93AFEBADE8B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340" y="1143000"/>
            <a:ext cx="8174519" cy="5266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91847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972A32-92DB-423F-83A0-4C67D4666E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34146" y="2934392"/>
            <a:ext cx="6106679" cy="576293"/>
          </a:xfrm>
        </p:spPr>
        <p:txBody>
          <a:bodyPr/>
          <a:lstStyle/>
          <a:p>
            <a:r>
              <a:rPr lang="en-GB" dirty="0"/>
              <a:t>Recap from Workshop #5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554B6B-C02F-49CA-A0A6-CB3CA82CC1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ection 1</a:t>
            </a:r>
          </a:p>
        </p:txBody>
      </p:sp>
    </p:spTree>
    <p:extLst>
      <p:ext uri="{BB962C8B-B14F-4D97-AF65-F5344CB8AC3E}">
        <p14:creationId xmlns:p14="http://schemas.microsoft.com/office/powerpoint/2010/main" val="539002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5606841-F07B-410F-8EDC-2B50C04D0711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GB" sz="1600" dirty="0"/>
              <a:t>What has happened to this thing / person? </a:t>
            </a:r>
          </a:p>
          <a:p>
            <a:pPr lvl="1"/>
            <a:endParaRPr lang="en-GB" dirty="0"/>
          </a:p>
          <a:p>
            <a:r>
              <a:rPr lang="en-GB" sz="1600" dirty="0"/>
              <a:t>Is this thing / person the subject of this information set? </a:t>
            </a:r>
          </a:p>
          <a:p>
            <a:pPr lvl="1"/>
            <a:endParaRPr lang="en-GB" dirty="0"/>
          </a:p>
          <a:p>
            <a:r>
              <a:rPr lang="en-GB" sz="1600" dirty="0"/>
              <a:t>Does this information set represent this thing / person? </a:t>
            </a:r>
          </a:p>
          <a:p>
            <a:pPr lvl="1"/>
            <a:endParaRPr lang="en-GB" dirty="0"/>
          </a:p>
          <a:p>
            <a:r>
              <a:rPr lang="en-GB" sz="1600" dirty="0"/>
              <a:t>What is the source of this information set? </a:t>
            </a:r>
          </a:p>
          <a:p>
            <a:pPr lvl="1"/>
            <a:endParaRPr lang="en-GB" sz="1600" dirty="0"/>
          </a:p>
          <a:p>
            <a:r>
              <a:rPr lang="en-GB" sz="1600" dirty="0"/>
              <a:t>What is the relationship between this thing and that thing?</a:t>
            </a:r>
          </a:p>
          <a:p>
            <a:pPr lvl="1"/>
            <a:endParaRPr lang="en-GB" dirty="0"/>
          </a:p>
          <a:p>
            <a:r>
              <a:rPr lang="en-GB" sz="1600" dirty="0"/>
              <a:t>Is this the same thing as that thing? </a:t>
            </a:r>
          </a:p>
          <a:p>
            <a:pPr lvl="1"/>
            <a:endParaRPr lang="en-GB" dirty="0"/>
          </a:p>
          <a:p>
            <a:r>
              <a:rPr lang="en-GB" sz="1600" dirty="0"/>
              <a:t>What is the status of this thing? </a:t>
            </a:r>
          </a:p>
          <a:p>
            <a:pPr lvl="1"/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B524925-7AC8-44D3-A00A-34A758379C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1600" dirty="0">
                <a:solidFill>
                  <a:schemeClr val="tx1"/>
                </a:solidFill>
              </a:rPr>
              <a:t>Generalised event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205F597-89EE-40C0-A44C-1C49CC1954F5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sz="1600" dirty="0"/>
              <a:t>Does the consignment originate from the country which it states it does?</a:t>
            </a:r>
          </a:p>
          <a:p>
            <a:r>
              <a:rPr lang="en-GB" sz="1600" dirty="0"/>
              <a:t>Does the consignment contain what is stated on the manifest?</a:t>
            </a:r>
          </a:p>
          <a:p>
            <a:r>
              <a:rPr lang="en-GB" sz="1600" dirty="0"/>
              <a:t>Does the freight forwarder/trader/importer/carrier have a history of (not) being stopped?</a:t>
            </a:r>
          </a:p>
          <a:p>
            <a:r>
              <a:rPr lang="en-GB" sz="1600" dirty="0"/>
              <a:t>Does this freight forwarder / trader / importer / carrier have a history of imports which were "good“?</a:t>
            </a:r>
          </a:p>
          <a:p>
            <a:r>
              <a:rPr lang="en-GB" sz="1600" dirty="0"/>
              <a:t>Has this freight forwarder / trader / importer / carrier been seen before?</a:t>
            </a:r>
          </a:p>
          <a:p>
            <a:r>
              <a:rPr lang="en-GB" sz="1600" dirty="0"/>
              <a:t>Is this freight forwarder / trader / importer / carrier behaving in a way which is unusual?</a:t>
            </a:r>
          </a:p>
          <a:p>
            <a:r>
              <a:rPr lang="en-GB" sz="1600" dirty="0"/>
              <a:t>How is this freight forwarder / trader / importer / carrier linked to others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51070E5-19FA-4E81-B27C-3AFA97B8D6A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sz="1600" dirty="0">
                <a:solidFill>
                  <a:schemeClr val="tx1"/>
                </a:solidFill>
              </a:rPr>
              <a:t>Use case specific event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279CBFD-F8F5-4689-9382-6A0A4DB798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Domain knowledge – Event types</a:t>
            </a:r>
          </a:p>
        </p:txBody>
      </p:sp>
    </p:spTree>
    <p:extLst>
      <p:ext uri="{BB962C8B-B14F-4D97-AF65-F5344CB8AC3E}">
        <p14:creationId xmlns:p14="http://schemas.microsoft.com/office/powerpoint/2010/main" val="74163026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972A32-92DB-423F-83A0-4C67D4666E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34146" y="2934392"/>
            <a:ext cx="6106679" cy="576293"/>
          </a:xfrm>
        </p:spPr>
        <p:txBody>
          <a:bodyPr/>
          <a:lstStyle/>
          <a:p>
            <a:r>
              <a:rPr lang="en-GB" dirty="0"/>
              <a:t>Q&amp;A / AOB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554B6B-C02F-49CA-A0A6-CB3CA82CC1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ection 5</a:t>
            </a:r>
          </a:p>
        </p:txBody>
      </p:sp>
    </p:spTree>
    <p:extLst>
      <p:ext uri="{BB962C8B-B14F-4D97-AF65-F5344CB8AC3E}">
        <p14:creationId xmlns:p14="http://schemas.microsoft.com/office/powerpoint/2010/main" val="100804930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972A32-92DB-423F-83A0-4C67D4666E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34146" y="2934392"/>
            <a:ext cx="6106679" cy="576293"/>
          </a:xfrm>
        </p:spPr>
        <p:txBody>
          <a:bodyPr/>
          <a:lstStyle/>
          <a:p>
            <a:r>
              <a:rPr lang="en-GB" dirty="0"/>
              <a:t>Supporting slid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554B6B-C02F-49CA-A0A6-CB3CA82CC1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35365434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D9303BD-B877-431E-9F23-8C2ABD064A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Workshop schedule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3CB3DA6C-DF9C-4C75-9F4F-1FCE59AD30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3028457"/>
              </p:ext>
            </p:extLst>
          </p:nvPr>
        </p:nvGraphicFramePr>
        <p:xfrm>
          <a:off x="457200" y="923545"/>
          <a:ext cx="8686800" cy="5653042"/>
        </p:xfrm>
        <a:graphic>
          <a:graphicData uri="http://schemas.openxmlformats.org/drawingml/2006/table">
            <a:tbl>
              <a:tblPr firstRow="1" firstCol="1" bandRow="1">
                <a:tableStyleId>{839DD9DD-9E6C-4910-8AC0-68ADFF6A6AFC}</a:tableStyleId>
              </a:tblPr>
              <a:tblGrid>
                <a:gridCol w="374904">
                  <a:extLst>
                    <a:ext uri="{9D8B030D-6E8A-4147-A177-3AD203B41FA5}">
                      <a16:colId xmlns:a16="http://schemas.microsoft.com/office/drawing/2014/main" val="1916012163"/>
                    </a:ext>
                  </a:extLst>
                </a:gridCol>
                <a:gridCol w="585216">
                  <a:extLst>
                    <a:ext uri="{9D8B030D-6E8A-4147-A177-3AD203B41FA5}">
                      <a16:colId xmlns:a16="http://schemas.microsoft.com/office/drawing/2014/main" val="824415841"/>
                    </a:ext>
                  </a:extLst>
                </a:gridCol>
                <a:gridCol w="1655064">
                  <a:extLst>
                    <a:ext uri="{9D8B030D-6E8A-4147-A177-3AD203B41FA5}">
                      <a16:colId xmlns:a16="http://schemas.microsoft.com/office/drawing/2014/main" val="4141798486"/>
                    </a:ext>
                  </a:extLst>
                </a:gridCol>
                <a:gridCol w="4251960">
                  <a:extLst>
                    <a:ext uri="{9D8B030D-6E8A-4147-A177-3AD203B41FA5}">
                      <a16:colId xmlns:a16="http://schemas.microsoft.com/office/drawing/2014/main" val="2706454597"/>
                    </a:ext>
                  </a:extLst>
                </a:gridCol>
                <a:gridCol w="1819656">
                  <a:extLst>
                    <a:ext uri="{9D8B030D-6E8A-4147-A177-3AD203B41FA5}">
                      <a16:colId xmlns:a16="http://schemas.microsoft.com/office/drawing/2014/main" val="287056515"/>
                    </a:ext>
                  </a:extLst>
                </a:gridCol>
              </a:tblGrid>
              <a:tr h="100400"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600"/>
                        </a:spcAft>
                      </a:pPr>
                      <a:r>
                        <a:rPr lang="en-GB" sz="1100">
                          <a:effectLst/>
                        </a:rPr>
                        <a:t>W/s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600"/>
                        </a:spcAft>
                      </a:pPr>
                      <a:r>
                        <a:rPr lang="en-GB" sz="1100">
                          <a:effectLst/>
                        </a:rPr>
                        <a:t>Dat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600"/>
                        </a:spcAft>
                      </a:pPr>
                      <a:r>
                        <a:rPr lang="en-GB" sz="1100" dirty="0">
                          <a:effectLst/>
                        </a:rPr>
                        <a:t>Deliverable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600"/>
                        </a:spcAft>
                      </a:pPr>
                      <a:r>
                        <a:rPr lang="en-GB" sz="1100" dirty="0">
                          <a:effectLst/>
                        </a:rPr>
                        <a:t>Agenda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600"/>
                        </a:spcAft>
                      </a:pPr>
                      <a:r>
                        <a:rPr lang="en-GB" sz="1100" dirty="0">
                          <a:effectLst/>
                        </a:rPr>
                        <a:t>Attendees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extLst>
                  <a:ext uri="{0D108BD9-81ED-4DB2-BD59-A6C34878D82A}">
                    <a16:rowId xmlns:a16="http://schemas.microsoft.com/office/drawing/2014/main" val="684632117"/>
                  </a:ext>
                </a:extLst>
              </a:tr>
              <a:tr h="552688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KO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29/01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-4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Common understanding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Questions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Problem statements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Expressions of interest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rowSpan="5"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FB Technical Architect</a:t>
                      </a:r>
                    </a:p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HMRC Technical Architect </a:t>
                      </a:r>
                    </a:p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HMRC Innovation Lead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extLst>
                  <a:ext uri="{0D108BD9-81ED-4DB2-BD59-A6C34878D82A}">
                    <a16:rowId xmlns:a16="http://schemas.microsoft.com/office/drawing/2014/main" val="285091157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 dirty="0">
                          <a:effectLst/>
                        </a:rPr>
                        <a:t>#1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05/02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-4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 dirty="0">
                          <a:effectLst/>
                        </a:rPr>
                        <a:t>Standards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noFill/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Standards to implement and communicate shared knowledge base used in event-based data assurance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7998161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 dirty="0">
                          <a:effectLst/>
                        </a:rPr>
                        <a:t>#2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2/02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-4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noFill/>
                  </a:tcPr>
                </a:tc>
                <a:tc rowSpan="3"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 dirty="0">
                          <a:effectLst/>
                        </a:rPr>
                        <a:t>Metadata model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noFill/>
                  </a:tcPr>
                </a:tc>
                <a:tc rowSpan="3">
                  <a:txBody>
                    <a:bodyPr/>
                    <a:lstStyle/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Reasoning models for data assurance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Classification</a:t>
                      </a:r>
                    </a:p>
                    <a:p>
                      <a:pPr marL="742950" lvl="1" indent="-28575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en-GB" sz="1100" dirty="0">
                          <a:effectLst/>
                        </a:rPr>
                        <a:t>Events</a:t>
                      </a:r>
                    </a:p>
                    <a:p>
                      <a:pPr marL="742950" lvl="1" indent="-28575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en-GB" sz="1100" dirty="0">
                          <a:effectLst/>
                        </a:rPr>
                        <a:t>Chains / sequences / methods</a:t>
                      </a:r>
                    </a:p>
                    <a:p>
                      <a:pPr marL="742950" lvl="1" indent="-28575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en-GB" sz="1100" dirty="0">
                          <a:effectLst/>
                        </a:rPr>
                        <a:t>Actors (e.g. source of events)</a:t>
                      </a:r>
                    </a:p>
                    <a:p>
                      <a:pPr marL="742950" lvl="1" indent="-28575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en-GB" sz="1100" dirty="0">
                          <a:effectLst/>
                        </a:rPr>
                        <a:t>Relationships (e.g. linking IDs)</a:t>
                      </a:r>
                    </a:p>
                    <a:p>
                      <a:pPr marL="742950" lvl="1" indent="-28575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en-GB" sz="1100" dirty="0">
                          <a:effectLst/>
                        </a:rPr>
                        <a:t>Supporting metadata</a:t>
                      </a:r>
                    </a:p>
                    <a:p>
                      <a:pPr marL="342900" lvl="0" indent="-342900">
                        <a:lnSpc>
                          <a:spcPct val="105000"/>
                        </a:lnSpc>
                        <a:spcBef>
                          <a:spcPts val="720"/>
                        </a:spcBef>
                        <a:spcAft>
                          <a:spcPts val="72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Schema / headers</a:t>
                      </a:r>
                    </a:p>
                    <a:p>
                      <a:pPr marL="742950" lvl="1" indent="-28575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en-GB" sz="1100" dirty="0">
                          <a:effectLst/>
                        </a:rPr>
                        <a:t>Mandatory</a:t>
                      </a:r>
                    </a:p>
                    <a:p>
                      <a:pPr marL="742950" lvl="1" indent="-28575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en-GB" sz="1100" dirty="0">
                          <a:effectLst/>
                        </a:rPr>
                        <a:t>Optional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4212264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 dirty="0">
                          <a:effectLst/>
                        </a:rPr>
                        <a:t>#3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9/02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-4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2090722"/>
                  </a:ext>
                </a:extLst>
              </a:tr>
              <a:tr h="1586248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 dirty="0">
                          <a:effectLst/>
                        </a:rPr>
                        <a:t>#4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26/02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2-5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7786522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 dirty="0">
                          <a:effectLst/>
                        </a:rPr>
                        <a:t>#5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b="1" dirty="0">
                          <a:effectLst/>
                        </a:rPr>
                        <a:t>04/03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b="1" dirty="0">
                          <a:effectLst/>
                        </a:rPr>
                        <a:t>1-4pm</a:t>
                      </a:r>
                      <a:endParaRPr lang="en-GB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 b="1" dirty="0">
                          <a:effectLst/>
                        </a:rPr>
                        <a:t>Expert input</a:t>
                      </a:r>
                      <a:endParaRPr lang="en-GB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noFill/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b="1" dirty="0">
                          <a:effectLst/>
                        </a:rPr>
                        <a:t>Expert assessment of proposed standards and metadata model</a:t>
                      </a:r>
                      <a:endParaRPr lang="en-GB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 b="1" dirty="0">
                          <a:effectLst/>
                        </a:rPr>
                        <a:t>Representatives of </a:t>
                      </a:r>
                      <a:r>
                        <a:rPr lang="en-GB" sz="1100" b="1" dirty="0" err="1">
                          <a:effectLst/>
                        </a:rPr>
                        <a:t>Inrupt</a:t>
                      </a:r>
                      <a:r>
                        <a:rPr lang="en-GB" sz="1100" b="1" dirty="0">
                          <a:effectLst/>
                        </a:rPr>
                        <a:t>, Oxford Semantic Tech</a:t>
                      </a:r>
                    </a:p>
                  </a:txBody>
                  <a:tcPr marL="37747" marR="37747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6419300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 dirty="0">
                          <a:effectLst/>
                        </a:rPr>
                        <a:t>#6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1/03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-4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 dirty="0">
                          <a:effectLst/>
                        </a:rPr>
                        <a:t>Rules of engagement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Boundary of open alliance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Scalable / mutual contractual agreements for value exchange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Value exchange mechanisms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Publication of / subscription to events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 err="1">
                          <a:effectLst/>
                        </a:rPr>
                        <a:t>Permissioning</a:t>
                      </a:r>
                      <a:r>
                        <a:rPr lang="en-GB" sz="1100" dirty="0">
                          <a:effectLst/>
                        </a:rPr>
                        <a:t> (including consent)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Use of standards and metadata model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100" dirty="0">
                          <a:effectLst/>
                        </a:rPr>
                        <a:t>Governance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 dirty="0">
                          <a:effectLst/>
                        </a:rPr>
                        <a:t>HMRC Innovation Lead</a:t>
                      </a:r>
                    </a:p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 dirty="0">
                          <a:effectLst/>
                        </a:rPr>
                        <a:t>HMRC Stakeholders x2</a:t>
                      </a:r>
                    </a:p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 dirty="0">
                          <a:effectLst/>
                        </a:rPr>
                        <a:t>GDS representative(s)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08590"/>
                  </a:ext>
                </a:extLst>
              </a:tr>
              <a:tr h="311869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#7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8/03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1-4pm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0147486"/>
                  </a:ext>
                </a:extLst>
              </a:tr>
              <a:tr h="875978">
                <a:tc>
                  <a:txBody>
                    <a:bodyPr/>
                    <a:lstStyle/>
                    <a:p>
                      <a:pPr>
                        <a:spcBef>
                          <a:spcPts val="720"/>
                        </a:spcBef>
                        <a:spcAft>
                          <a:spcPts val="720"/>
                        </a:spcAft>
                      </a:pPr>
                      <a:r>
                        <a:rPr lang="en-GB" sz="1100">
                          <a:effectLst/>
                        </a:rPr>
                        <a:t>#8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</a:rPr>
                        <a:t>25/03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720"/>
                        </a:spcAft>
                      </a:pPr>
                      <a:r>
                        <a:rPr lang="en-GB" sz="1100" dirty="0">
                          <a:effectLst/>
                        </a:rPr>
                        <a:t>9am-12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7747" marR="37747" marT="0" marB="0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2264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49833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6A5C8DA-4544-4109-A7FB-CBB34DDD91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616" y="2290572"/>
            <a:ext cx="2084832" cy="2276856"/>
          </a:xfrm>
        </p:spPr>
        <p:txBody>
          <a:bodyPr/>
          <a:lstStyle/>
          <a:p>
            <a:r>
              <a:rPr lang="en-GB" sz="2400" dirty="0"/>
              <a:t>Illustrative Ecosystem Level [n]</a:t>
            </a:r>
            <a:br>
              <a:rPr lang="en-GB" sz="2400" dirty="0"/>
            </a:br>
            <a:br>
              <a:rPr lang="en-GB" sz="2400" dirty="0"/>
            </a:br>
            <a:r>
              <a:rPr lang="en-GB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ystem Context Diagram</a:t>
            </a:r>
            <a:endParaRPr lang="en-GB" sz="2400" dirty="0"/>
          </a:p>
        </p:txBody>
      </p:sp>
      <p:pic>
        <p:nvPicPr>
          <p:cNvPr id="4" name="Picture 3" descr="A close up of a map&#10;&#10;Description automatically generated">
            <a:extLst>
              <a:ext uri="{FF2B5EF4-FFF2-40B4-BE49-F238E27FC236}">
                <a16:creationId xmlns:a16="http://schemas.microsoft.com/office/drawing/2014/main" id="{FD9DD66E-F641-48DC-8399-34F6C5DCC14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33"/>
          <a:stretch/>
        </p:blipFill>
        <p:spPr>
          <a:xfrm>
            <a:off x="2748807" y="237744"/>
            <a:ext cx="6572466" cy="6382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1755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6D0EE73-5DD7-4AB5-A6BA-8AC5006ADD90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sz="1600" b="1" dirty="0"/>
              <a:t>Entry Point Service</a:t>
            </a:r>
            <a:r>
              <a:rPr lang="en-GB" sz="1600" dirty="0"/>
              <a:t>: at least one addressable API that provides access to the ecosystem</a:t>
            </a:r>
          </a:p>
          <a:p>
            <a:pPr lvl="1"/>
            <a:endParaRPr lang="en-GB" sz="1000" dirty="0"/>
          </a:p>
          <a:p>
            <a:r>
              <a:rPr lang="en-GB" sz="1600" b="1" dirty="0"/>
              <a:t>Refinery Service</a:t>
            </a:r>
            <a:r>
              <a:rPr lang="en-GB" sz="1600" dirty="0"/>
              <a:t>: to transform ‘raw’ data from external systems into OEF events</a:t>
            </a:r>
          </a:p>
          <a:p>
            <a:pPr lvl="1"/>
            <a:endParaRPr lang="en-GB" sz="1000" dirty="0"/>
          </a:p>
          <a:p>
            <a:r>
              <a:rPr lang="en-GB" sz="1600" b="1" dirty="0"/>
              <a:t>Event Pipeline</a:t>
            </a:r>
            <a:r>
              <a:rPr lang="en-GB" sz="1600" dirty="0"/>
              <a:t>: an external system generating data to be refined as events in the ecosystem</a:t>
            </a:r>
          </a:p>
          <a:p>
            <a:pPr lvl="1"/>
            <a:endParaRPr lang="en-GB" sz="1000" dirty="0"/>
          </a:p>
          <a:p>
            <a:r>
              <a:rPr lang="en-GB" sz="1600" b="1" dirty="0"/>
              <a:t>Event Store</a:t>
            </a:r>
            <a:r>
              <a:rPr lang="en-GB" sz="1600" dirty="0"/>
              <a:t>: a store for the refined events posted into the ecosystem by a participant</a:t>
            </a:r>
          </a:p>
          <a:p>
            <a:pPr lvl="1"/>
            <a:endParaRPr lang="en-GB" sz="1000" dirty="0"/>
          </a:p>
          <a:p>
            <a:r>
              <a:rPr lang="en-GB" sz="1600" b="1" dirty="0"/>
              <a:t>Registry Service</a:t>
            </a:r>
            <a:r>
              <a:rPr lang="en-GB" sz="1600" dirty="0"/>
              <a:t>: a record of ecosystem participants and their authorised scope of action</a:t>
            </a:r>
          </a:p>
          <a:p>
            <a:pPr lvl="1"/>
            <a:endParaRPr lang="en-GB" sz="1000" dirty="0"/>
          </a:p>
          <a:p>
            <a:r>
              <a:rPr lang="en-GB" sz="1600" b="1" dirty="0"/>
              <a:t>Directory Service</a:t>
            </a:r>
            <a:r>
              <a:rPr lang="en-GB" sz="1600" dirty="0"/>
              <a:t>: to facilitate discovery and matching between ecosystem participants</a:t>
            </a:r>
          </a:p>
          <a:p>
            <a:pPr lvl="1"/>
            <a:endParaRPr lang="en-GB" sz="1000" dirty="0"/>
          </a:p>
          <a:p>
            <a:r>
              <a:rPr lang="en-GB" sz="1600" b="1" dirty="0"/>
              <a:t>Exchange Service</a:t>
            </a:r>
            <a:r>
              <a:rPr lang="en-GB" sz="1600" dirty="0"/>
              <a:t>: to support information flow and value exchange between participants</a:t>
            </a:r>
          </a:p>
          <a:p>
            <a:pPr lvl="1"/>
            <a:endParaRPr lang="en-GB" sz="1000" dirty="0"/>
          </a:p>
          <a:p>
            <a:r>
              <a:rPr lang="en-GB" sz="1600" b="1" dirty="0"/>
              <a:t>Administration Service</a:t>
            </a:r>
            <a:r>
              <a:rPr lang="en-GB" sz="1600" dirty="0"/>
              <a:t>: to maintain shard artefacts critical to the operation of the ecosystem</a:t>
            </a:r>
          </a:p>
          <a:p>
            <a:pPr lvl="1"/>
            <a:endParaRPr lang="en-GB" sz="1000" dirty="0"/>
          </a:p>
          <a:p>
            <a:r>
              <a:rPr lang="en-GB" sz="1600" b="1" dirty="0"/>
              <a:t>Ontologies</a:t>
            </a:r>
            <a:r>
              <a:rPr lang="en-GB" sz="1600" dirty="0"/>
              <a:t>: conceptual models of the domain of interest shared by the ecosystem</a:t>
            </a:r>
          </a:p>
          <a:p>
            <a:pPr lvl="1"/>
            <a:endParaRPr lang="en-GB" sz="1000" dirty="0"/>
          </a:p>
          <a:p>
            <a:r>
              <a:rPr lang="en-GB" sz="1600" b="1" dirty="0"/>
              <a:t>Reasoning Engines</a:t>
            </a:r>
            <a:r>
              <a:rPr lang="en-GB" sz="1600" dirty="0"/>
              <a:t>: to derive insight and extract value from events in the ecosystem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8ADDC47-C751-40D6-B402-114BEEF3F8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Responsibilities that MUST be represented in OEF ecosystems</a:t>
            </a:r>
          </a:p>
        </p:txBody>
      </p:sp>
    </p:spTree>
    <p:extLst>
      <p:ext uri="{BB962C8B-B14F-4D97-AF65-F5344CB8AC3E}">
        <p14:creationId xmlns:p14="http://schemas.microsoft.com/office/powerpoint/2010/main" val="31215015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BE048A0-30D6-4C64-BD23-BC785F94F3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Tracing the genesis of an OEF ecosystem</a:t>
            </a:r>
          </a:p>
        </p:txBody>
      </p:sp>
      <p:pic>
        <p:nvPicPr>
          <p:cNvPr id="5" name="Picture 4" descr="A picture containing clock&#10;&#10;Description automatically generated">
            <a:extLst>
              <a:ext uri="{FF2B5EF4-FFF2-40B4-BE49-F238E27FC236}">
                <a16:creationId xmlns:a16="http://schemas.microsoft.com/office/drawing/2014/main" id="{DA0DA76B-6582-4300-8DA5-4F98D1FDF1E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8381" y="1199012"/>
            <a:ext cx="6800959" cy="5466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7112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972A32-92DB-423F-83A0-4C67D4666E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34146" y="2934392"/>
            <a:ext cx="6106679" cy="576293"/>
          </a:xfrm>
        </p:spPr>
        <p:txBody>
          <a:bodyPr/>
          <a:lstStyle/>
          <a:p>
            <a:r>
              <a:rPr lang="en-GB" dirty="0"/>
              <a:t>OEF rules of engagemen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554B6B-C02F-49CA-A0A6-CB3CA82CC1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ection 2</a:t>
            </a:r>
          </a:p>
        </p:txBody>
      </p:sp>
    </p:spTree>
    <p:extLst>
      <p:ext uri="{BB962C8B-B14F-4D97-AF65-F5344CB8AC3E}">
        <p14:creationId xmlns:p14="http://schemas.microsoft.com/office/powerpoint/2010/main" val="3244364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114B54B-57AF-4A51-9BCD-23915B03724E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sz="1800" dirty="0"/>
              <a:t>“Rules of engagement” establish a basic behavioural framework that:</a:t>
            </a:r>
          </a:p>
          <a:p>
            <a:pPr lvl="1"/>
            <a:r>
              <a:rPr lang="en-GB" sz="1800" dirty="0"/>
              <a:t>Requires participants to shoulder a minimum set of responsibilities through the implementation of technical specifications</a:t>
            </a:r>
          </a:p>
          <a:p>
            <a:pPr lvl="1"/>
            <a:r>
              <a:rPr lang="en-GB" sz="1800" dirty="0"/>
              <a:t>Extends beyond technical specifications where necessary, but does not raise any unnecessary barriers to entry into the ecosystem</a:t>
            </a:r>
          </a:p>
          <a:p>
            <a:endParaRPr lang="en-GB" sz="1800" dirty="0"/>
          </a:p>
          <a:p>
            <a:r>
              <a:rPr lang="en-GB" sz="1800" dirty="0"/>
              <a:t>The Discovery Project set out some dimensions to be explored</a:t>
            </a:r>
          </a:p>
          <a:p>
            <a:pPr lvl="1"/>
            <a:r>
              <a:rPr lang="en-GB" sz="1800" dirty="0"/>
              <a:t>Boundary of open alliance</a:t>
            </a:r>
          </a:p>
          <a:p>
            <a:pPr lvl="1"/>
            <a:r>
              <a:rPr lang="en-GB" sz="1800" dirty="0"/>
              <a:t>Scalable / mutual contractual agreements for value exchange</a:t>
            </a:r>
          </a:p>
          <a:p>
            <a:pPr lvl="1"/>
            <a:r>
              <a:rPr lang="en-GB" sz="1800" dirty="0"/>
              <a:t>Value exchange mechanisms</a:t>
            </a:r>
          </a:p>
          <a:p>
            <a:pPr lvl="1"/>
            <a:r>
              <a:rPr lang="en-GB" sz="1800" dirty="0"/>
              <a:t>Publication of / subscription to events</a:t>
            </a:r>
          </a:p>
          <a:p>
            <a:pPr lvl="1"/>
            <a:r>
              <a:rPr lang="en-GB" sz="1800" dirty="0" err="1"/>
              <a:t>Permissioning</a:t>
            </a:r>
            <a:r>
              <a:rPr lang="en-GB" sz="1800" dirty="0"/>
              <a:t> (including consent)</a:t>
            </a:r>
          </a:p>
          <a:p>
            <a:pPr lvl="1"/>
            <a:r>
              <a:rPr lang="en-GB" sz="1800" dirty="0"/>
              <a:t>Use of standards and metadata model</a:t>
            </a:r>
          </a:p>
          <a:p>
            <a:pPr lvl="1"/>
            <a:r>
              <a:rPr lang="en-GB" sz="1800" dirty="0"/>
              <a:t>Governanc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1B456FE-C283-46EA-9E07-B43484EA51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b="1" dirty="0"/>
              <a:t>Rules of engagement</a:t>
            </a:r>
            <a:br>
              <a:rPr lang="en-GB" sz="2400" b="1" dirty="0"/>
            </a:br>
            <a:r>
              <a:rPr lang="en-GB" sz="2400" dirty="0"/>
              <a:t>Incoming hypotheses</a:t>
            </a:r>
            <a:endParaRPr lang="en-GB" sz="2400" b="1" dirty="0"/>
          </a:p>
        </p:txBody>
      </p:sp>
    </p:spTree>
    <p:extLst>
      <p:ext uri="{BB962C8B-B14F-4D97-AF65-F5344CB8AC3E}">
        <p14:creationId xmlns:p14="http://schemas.microsoft.com/office/powerpoint/2010/main" val="38509700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PLIEDSTYLE" val="Pag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ctern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lIns="73152" tIns="73152" rIns="73152" bIns="73152" rtlCol="0" anchor="ctr"/>
      <a:lstStyle>
        <a:defPPr algn="ctr">
          <a:defRPr sz="1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000" dirty="0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</a:theme>
</file>

<file path=ppt/theme/theme2.xml><?xml version="1.0" encoding="utf-8"?>
<a:theme xmlns:a="http://schemas.openxmlformats.org/drawingml/2006/main" name="Office Theme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lIns="73152" tIns="73152" rIns="73152" bIns="73152" rtlCol="0" anchor="ctr"/>
      <a:lstStyle>
        <a:defPPr algn="ctr">
          <a:defRPr sz="1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000" dirty="0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</a:theme>
</file>

<file path=ppt/theme/theme3.xml><?xml version="1.0" encoding="utf-8"?>
<a:theme xmlns:a="http://schemas.openxmlformats.org/drawingml/2006/main" name="Office Theme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lIns="73152" tIns="73152" rIns="73152" bIns="73152" rtlCol="0" anchor="ctr"/>
      <a:lstStyle>
        <a:defPPr algn="ctr">
          <a:defRPr sz="1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000" dirty="0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</a:theme>
</file>

<file path=customUI/customUI14.xml><?xml version="1.0" encoding="utf-8"?>
<mso:customUI xmlns:mso="http://schemas.microsoft.com/office/2009/07/customui">
  <mso:ribbon>
    <mso:contextualTabs>
      <mso:tabSet idMso="TabSetTableTools">
        <mso:tab idQ="mso:TabTableToolsDesign">
          <mso:group idQ="mso:GroupTableStylesPowerPoint" visible="false"/>
          <mso:group id="OWTable" label="Table" autoScale="true">
            <mso:gallery idQ="mso:ShadingColorPicker" showInRibbon="false" visible="true"/>
            <mso:control idQ="mso:TableBordersMenu" visible="true"/>
          </mso:group>
        </mso:tab>
      </mso:tabSet>
    </mso:contextualTabs>
  </mso:ribbon>
</mso:customUI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StyleProperties xmlns:xsi="http://www.w3.org/2001/XMLSchema-instance" xmlns:xsd="http://www.w3.org/2001/XMLSchema" Name="Ghost" Description="" Type="Shape">
  <ShapeStyle>
    <Location>
      <Left>36</Left>
      <Top>8.64</Top>
    </Location>
    <Size/>
    <Fill>
      <Color>
        <SchemeColor>1</SchemeColor>
        <ObjectThemeColor>14</ObjectThemeColor>
        <ColorType>2</ColorType>
        <Brightness>0</Brightness>
        <TintAndShade>0</TintAndShade>
      </Color>
      <Transparency>0</Transparency>
      <Visible>0</Visible>
      <FillType>1</FillType>
    </Fill>
    <AutoShapeType>1</AutoShapeType>
    <LockAspectRatio>0</LockAspectRatio>
    <BlackWhiteMode>1</BlackWhiteMode>
    <AutoFit>msoAutoSizeShapeToFitText</AutoFit>
    <TextFrame>
      <MarginTop>0</MarginTop>
      <MarginLeft>0</MarginLeft>
      <MarginBottom>0</MarginBottom>
      <MarginRight>0</MarginRight>
    </TextFrame>
    <TextFrame2>
      <WordWrap>0</WordWrap>
      <AutoSize>1</AutoSize>
      <HorizontalAnchor>1</HorizontalAnchor>
      <VerticalAnchor>4</VerticalAnchor>
      <TextDirection>1</TextDirection>
    </TextFrame2>
    <LineStyle>
      <DashStyle>1</DashStyle>
      <Transparency>0</Transparency>
      <Weight>0.75</Weight>
      <Color>
        <ObjectThemeColor>7</ObjectThemeColor>
        <ColorType>2</ColorType>
        <Brightness>0</Brightness>
        <TintAndShade>0</TintAndShade>
      </Color>
      <Visible>0</Visible>
      <Style>1</Style>
      <LinePattern>-2</LinePattern>
    </LineStyle>
  </ShapeStyle>
  <TextStyle>
    <Font>
      <Shadowed/>
      <Color>
        <ObjectThemeColor>8</ObjectThemeColor>
        <ColorType>2</ColorType>
        <Brightness>0</Brightness>
        <TintAndShade>0</TintAndShade>
      </Color>
      <FontName>+mn-lt</FontName>
      <FontNameFarEast>+mn-ea</FontNameFarEast>
      <FontSize>12</FontSize>
      <Bold>0</Bold>
      <Italic>0</Italic>
      <AllCaps>0</AllCaps>
      <Underline>
        <UnderlineStyle>0</UnderlineStyle>
        <Color>
          <SchemeColor>-2</SchemeColor>
          <ObjectThemeColor>-2</ObjectThemeColor>
          <ColorType>-2</ColorType>
          <Brightness>-2.147484E+09</Brightness>
          <TintAndShade>-2.147484E+09</TintAndShade>
        </Color>
      </Underline>
      <Spacing>0</Spacing>
      <Kerning>12</Kerning>
      <FarEastfontType>Normal</FarEastfontType>
      <LatinFontType>Normal</LatinFontType>
    </Font>
    <ParagraphFormat>
      <Alignment>1</Alignment>
      <LineRuleAfter>0</LineRuleAfter>
      <LineRuleBefore>0</LineRuleBefore>
      <LineRuleWithin>-1</LineRuleWithin>
      <FirstLineIndent>0</FirstLineIndent>
      <LeftIndent>0</LeftIndent>
      <HangingPunctuation>-1</HangingPunctuation>
      <SpaceAfter>0</SpaceAfter>
      <SpaceBefore>0</SpaceBefore>
      <SpaceWithin>1</SpaceWithin>
      <TabStops/>
    </ParagraphFormat>
  </TextStyle>
  <Sticky>false</Sticky>
</StyleProperties>
</file>

<file path=customXml/item2.xml><?xml version="1.0" encoding="utf-8"?>
<StyleProperties xmlns:xsi="http://www.w3.org/2001/XMLSchema-instance" xmlns:xsd="http://www.w3.org/2001/XMLSchema" Name="Small internal margins" Description="Internal margins: Left/Right: 0.04&quot;, Top/Bottom: 0.02&quot;, Maximum size: 30 rows x 15 columns" Type="Table">
  <TableStyle>
    <Cells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  <ArrayOf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  <TableCellProps>
          <Frame>
            <MarginTop>1.44</MarginTop>
            <MarginLeft>2.88</MarginLeft>
            <MarginBottom>1.44</MarginBottom>
            <MarginRight>2.88</MarginRight>
          </Frame>
        </TableCellProps>
      </ArrayOfTableCellProps>
    </CellsProps>
  </TableStyle>
  <Sticky>false</Sticky>
</StyleProperties>
</file>

<file path=customXml/item3.xml><?xml version="1.0" encoding="utf-8"?>
<StyleProperties xmlns:xsi="http://www.w3.org/2001/XMLSchema-instance" xmlns:xsd="http://www.w3.org/2001/XMLSchema" Name="Default internal margins" Description="Internal margins: Left/Right: 0.1&quot;, Top/Bottom: 0.05&quot;, Maximum size: 25 rows x 15 columns" Type="Table">
  <TableStyle>
    <Cells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  <ArrayOf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  <TableCellProps>
          <Frame>
            <MarginTop>3.6</MarginTop>
            <MarginLeft>7.2</MarginLeft>
            <MarginBottom>3.6</MarginBottom>
            <MarginRight>7.2</MarginRight>
          </Frame>
        </TableCellProps>
      </ArrayOfTableCellProps>
    </CellsProps>
  </TableStyle>
  <Sticky>false</Sticky>
</StyleProperties>
</file>

<file path=customXml/item4.xml><?xml version="1.0" encoding="utf-8"?>
<StyleProperties xmlns:xsi="http://www.w3.org/2001/XMLSchema-instance" xmlns:xsd="http://www.w3.org/2001/XMLSchema" Name="OW text box without outline" Description="Fill: No, Border: No, Internal margins: 0, Black Arial, Left, Top aligned" Type="Shape">
  <ShapeStyle>
    <Location/>
    <Size/>
    <Fill>
      <Color>
        <RGBColor>16777215</RGBColor>
        <ColorType>1</ColorType>
        <Brightness>0</Brightness>
        <TintAndShade>0</TintAndShade>
      </Color>
      <Transparency>1</Transparency>
      <Visible>0</Visible>
      <FillType>-2</FillType>
    </Fill>
    <AutoShapeType>1</AutoShapeType>
    <BlackWhiteMode>1</BlackWhiteMode>
    <AutoFit>msoAutoSizeShapeToFitText</AutoFit>
    <TextFrame>
      <MarginTop>0</MarginTop>
      <MarginLeft>0</MarginLeft>
      <MarginBottom>0</MarginBottom>
      <MarginRight>0</MarginRight>
    </TextFrame>
    <TextFrame2>
      <WordWrap>-1</WordWrap>
      <AutoSize>1</AutoSize>
      <HorizontalAnchor>1</HorizontalAnchor>
      <VerticalAnchor>1</VerticalAnchor>
      <TextDirection>1</TextDirection>
    </TextFrame2>
    <LineStyle>
      <DashStyle>-2</DashStyle>
      <Transparency>-2.147484E+09</Transparency>
      <Weight>-2.147484E+09</Weight>
      <Color>
        <RGBColor>16777215</RGBColor>
      </Color>
      <Visible>0</Visible>
      <Style>-2</Style>
      <LinePattern>-2</LinePattern>
    </LineStyle>
  </ShapeStyle>
  <TextStyle>
    <Font>
      <Shadowed/>
      <Color>
        <SchemeColor>2</SchemeColor>
        <ObjectThemeColor>13</ObjectThemeColor>
        <ColorType>2</ColorType>
        <Brightness>0</Brightness>
        <TintAndShade>0</TintAndShade>
      </Color>
      <FontName>+mn-lt</FontName>
      <FontNameFarEast>+mn-ea</FontNameFarEast>
      <AllCaps>0</AllCaps>
      <Spacing>0</Spacing>
      <Kerning>12</Kerning>
      <FarEastfontType>Normal</FarEastfontType>
      <LatinFontType>Normal</LatinFontType>
    </Font>
    <ParagraphFormat>
      <Alignment>1</Alignment>
      <LineRuleAfter>0</LineRuleAfter>
      <LineRuleBefore>0</LineRuleBefore>
      <LineRuleWithin>-1</LineRuleWithin>
      <FirstLineIndent>0</FirstLineIndent>
      <LeftIndent>0</LeftIndent>
      <HangingPunctuation>-1</HangingPunctuation>
      <SpaceAfter>0</SpaceAfter>
      <SpaceBefore>0</SpaceBefore>
      <SpaceWithin>1</SpaceWithin>
    </ParagraphFormat>
  </TextStyle>
  <Sticky>false</Sticky>
</StyleProperties>
</file>

<file path=customXml/item5.xml><?xml version="1.0" encoding="utf-8"?>
<StyleProperties xmlns:xsi="http://www.w3.org/2001/XMLSchema-instance" xmlns:xsd="http://www.w3.org/2001/XMLSchema" Name="Banded rows" Description="Fill: Table Onyx, Borders: 3/4 Onyx Light, Maximum size: 25 rows x 15 columns" Type="Table">
  <TableStyle>
    <Cells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5263976</RGBColor>
              <ColorType>1</ColorType>
              <Brightness>0</Brightness>
              <TintAndShade>0</TintAndShade>
            </Color>
            <Transparency>0</Transparency>
            <Visible>-1</Visible>
            <FillType>1</FillType>
          </Fill>
        </TableCellProps>
      </ArrayOfTableCellProps>
      <ArrayOf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  <TableCellProps>
          <Borders>
            <CellBorder>
              <ForeColor>
                <SchemeColor>-2</SchemeColor>
                <ObjectThemeColor>-2</ObjectThemeColor>
                <ColorType>-2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ObjectThemeColor>8</ObjectThemeColor>
                <ColorType>2</ColorType>
                <Brightness>0</Brightness>
                <TintAndShade>0</TintAndShade>
              </ForeColor>
              <BeginArrowheadLength>2</BeginArrowheadLength>
              <BeginArrowheadStyle>1</BeginArrowheadStyle>
              <BeginArrowheadWidth>2</BeginArrowheadWidth>
              <DashStyle>1</DashStyle>
              <EndArrowheadLength>2</EndArrowheadLength>
              <EndArrowheadStyle>1</EndArrowheadStyle>
              <EndArrowheadWidth>2</EndArrowheadWidth>
              <InsetPen>0</InsetPen>
              <Pattern>-2</Pattern>
              <Style>1</Style>
              <Transparency>0</Transparency>
              <Visible>-1</Visible>
              <Weight>0.75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  <CellBorder>
              <ForeColor>
                <RGBColor>16777215</RGBColor>
                <ColorType>1</ColorType>
                <Brightness>0</Brightness>
                <TintAndShade>0</TintAndShade>
              </ForeColor>
              <BeginArrowheadLength>-2</BeginArrowheadLength>
              <BeginArrowheadStyle>-2</BeginArrowheadStyle>
              <BeginArrowheadWidth>-2</BeginArrowheadWidth>
              <DashStyle>-2</DashStyle>
              <EndArrowheadLength>-2</EndArrowheadLength>
              <EndArrowheadStyle>-2</EndArrowheadStyle>
              <EndArrowheadWidth>-2</EndArrowheadWidth>
              <InsetPen>-2</InsetPen>
              <Pattern>-2</Pattern>
              <Style>-2</Style>
              <Transparency>-2.147484E+09</Transparency>
              <Visible>0</Visible>
              <Weight>-2.147484E+09</Weight>
            </CellBorder>
          </Borders>
          <Fill>
            <Color>
              <RGBColor>16777215</RGBColor>
              <ColorType>1</ColorType>
              <Brightness>0</Brightness>
              <TintAndShade>0</TintAndShade>
            </Color>
            <Transparency>1</Transparency>
            <Visible>0</Visible>
            <FillType>-2</FillType>
          </Fill>
        </TableCellProps>
      </ArrayOfTableCellProps>
    </CellsProps>
  </TableStyle>
  <Sticky>false</Sticky>
</StyleProperties>
</file>

<file path=customXml/item6.xml><?xml version="1.0" encoding="utf-8"?>
<StyleProperties xmlns:xsi="http://www.w3.org/2001/XMLSchema-instance" xmlns:xsd="http://www.w3.org/2001/XMLSchema" Name="OW shape with outline" Description="Fill: White, Border: 3/4 Onyx, Internal margins: 0.08&quot;, Black Arial, Centered, Middle aligned" Type="Shape">
  <ShapeStyle>
    <Location/>
    <Size/>
    <Fill>
      <Color>
        <SchemeColor>1</SchemeColor>
        <ObjectThemeColor>14</ObjectThemeColor>
        <ColorType>2</ColorType>
        <Brightness>0</Brightness>
        <TintAndShade>0</TintAndShade>
      </Color>
      <Transparency>0</Transparency>
      <Visible>-1</Visible>
      <FillType>1</FillType>
    </Fill>
    <BlackWhiteMode>2</BlackWhiteMode>
    <TextFrame>
      <MarginTop>5.76</MarginTop>
      <MarginLeft>5.76</MarginLeft>
      <MarginBottom>5.76</MarginBottom>
      <MarginRight>5.76</MarginRight>
    </TextFrame>
    <TextFrame2>
      <WordWrap>-1</WordWrap>
      <HorizontalAnchor>1</HorizontalAnchor>
      <VerticalAnchor>3</VerticalAnchor>
      <TextDirection>1</TextDirection>
    </TextFrame2>
    <LineStyle>
      <DashStyle>1</DashStyle>
      <Transparency>0</Transparency>
      <Weight>0.75</Weight>
      <Color>
        <ObjectThemeColor>7</ObjectThemeColor>
        <ColorType>2</ColorType>
        <Brightness>0</Brightness>
        <TintAndShade>0</TintAndShade>
      </Color>
      <Visible>-1</Visible>
      <Style>1</Style>
      <LinePattern>-2</LinePattern>
    </LineStyle>
  </ShapeStyle>
  <TextStyle>
    <Font>
      <Shadowed/>
      <Color>
        <SchemeColor>2</SchemeColor>
        <ObjectThemeColor>13</ObjectThemeColor>
        <ColorType>2</ColorType>
        <Brightness>0</Brightness>
        <TintAndShade>0</TintAndShade>
      </Color>
      <FontName>Arial</FontName>
      <FontNameFarEast>+mn-ea</FontNameFarEast>
      <AllCaps>0</AllCaps>
      <Spacing>0</Spacing>
      <Kerning>12</Kerning>
      <FarEastfontType>Normal</FarEastfontType>
      <LatinFontType>Normal</LatinFontType>
    </Font>
    <ParagraphFormat>
      <Alignment>2</Alignment>
      <LineRuleAfter>0</LineRuleAfter>
      <LineRuleBefore>0</LineRuleBefore>
      <LineRuleWithin>-1</LineRuleWithin>
      <FirstLineIndent>0</FirstLineIndent>
      <LeftIndent>0</LeftIndent>
      <HangingPunctuation>-1</HangingPunctuation>
      <SpaceAfter>0</SpaceAfter>
      <SpaceBefore>0</SpaceBefore>
      <SpaceWithin>1</SpaceWithin>
    </ParagraphFormat>
  </TextStyle>
  <Sticky>false</Sticky>
</StyleProperties>
</file>

<file path=customXml/itemProps1.xml><?xml version="1.0" encoding="utf-8"?>
<ds:datastoreItem xmlns:ds="http://schemas.openxmlformats.org/officeDocument/2006/customXml" ds:itemID="{24062862-D819-4629-A78B-28746F56C6A6}">
  <ds:schemaRefs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EC3FC3FD-7402-43FA-A087-189991168161}">
  <ds:schemaRefs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510912DC-1179-480F-93F2-62CB92A2E685}">
  <ds:schemaRefs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DF8EDFBD-FE51-4FDB-8871-39C1F52F6B17}">
  <ds:schemaRefs>
    <ds:schemaRef ds:uri="http://www.w3.org/2001/XMLSchema"/>
  </ds:schemaRefs>
</ds:datastoreItem>
</file>

<file path=customXml/itemProps5.xml><?xml version="1.0" encoding="utf-8"?>
<ds:datastoreItem xmlns:ds="http://schemas.openxmlformats.org/officeDocument/2006/customXml" ds:itemID="{EB6C5D7D-2426-44F3-97B9-92594319DF70}">
  <ds:schemaRefs>
    <ds:schemaRef ds:uri="http://www.w3.org/2001/XMLSchema"/>
  </ds:schemaRefs>
</ds:datastoreItem>
</file>

<file path=customXml/itemProps6.xml><?xml version="1.0" encoding="utf-8"?>
<ds:datastoreItem xmlns:ds="http://schemas.openxmlformats.org/officeDocument/2006/customXml" ds:itemID="{97B3659F-BDAC-4BB4-AAA5-B2EB30C6F0EB}">
  <ds:schemaRefs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3251</TotalTime>
  <Words>3061</Words>
  <Application>Microsoft Office PowerPoint</Application>
  <PresentationFormat>Custom</PresentationFormat>
  <Paragraphs>500</Paragraphs>
  <Slides>3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2" baseType="lpstr">
      <vt:lpstr>&amp;quot</vt:lpstr>
      <vt:lpstr>Arial</vt:lpstr>
      <vt:lpstr>Calibri</vt:lpstr>
      <vt:lpstr>Cambria Math</vt:lpstr>
      <vt:lpstr>Ebrima</vt:lpstr>
      <vt:lpstr>Symbol</vt:lpstr>
      <vt:lpstr>Wingdings</vt:lpstr>
      <vt:lpstr>Wingdings 2</vt:lpstr>
      <vt:lpstr>Factern</vt:lpstr>
      <vt:lpstr>think-cell Slide</vt:lpstr>
      <vt:lpstr>PowerPoint Presentation</vt:lpstr>
      <vt:lpstr>Agenda</vt:lpstr>
      <vt:lpstr>PowerPoint Presentation</vt:lpstr>
      <vt:lpstr>Workshop schedule</vt:lpstr>
      <vt:lpstr>Illustrative Ecosystem Level [n]  System Context Diagram</vt:lpstr>
      <vt:lpstr>Responsibilities that MUST be represented in OEF ecosystems</vt:lpstr>
      <vt:lpstr>Tracing the genesis of an OEF ecosystem</vt:lpstr>
      <vt:lpstr>PowerPoint Presentation</vt:lpstr>
      <vt:lpstr>Rules of engagement Incoming hypotheses</vt:lpstr>
      <vt:lpstr>What is an OEF ecosystem trying to achieve? Incoming hypothesis</vt:lpstr>
      <vt:lpstr>What are the alternatives? Illustrative example: models of e-invoicing*</vt:lpstr>
      <vt:lpstr>As an ecosystem, we will…: Create a consistent, meaningful and accessible metadata layer</vt:lpstr>
      <vt:lpstr>As an ecosystem, we will…: Express key concepts in a consistent, machine readable way</vt:lpstr>
      <vt:lpstr>As an ecosystem, we will…: Express key concepts in a consistent, machine readable way</vt:lpstr>
      <vt:lpstr>As an ecosystem, we will…: Express key concepts in a consistent, machine readable way</vt:lpstr>
      <vt:lpstr>As an ecosystem, we will…: Express key concepts in a consistent, machine readable way</vt:lpstr>
      <vt:lpstr>As an ecosystem, we will…: Express key concepts in a consistent, machine readable way</vt:lpstr>
      <vt:lpstr>As an ecosystem, we will…: Use a consistent syntax; treat all Events as logically the same</vt:lpstr>
      <vt:lpstr>As an ecosystem, we will…: Share vocabularies to make more Events relevant to each other</vt:lpstr>
      <vt:lpstr>As an ecosystem, we will…: Store (and explicitly manage) Events separately from attributes</vt:lpstr>
      <vt:lpstr>As an ecosystem, we will…: Avoid the need to rely on a single technology / point of failure</vt:lpstr>
      <vt:lpstr>As an Event Consumer, I will…: Specify my requirements as a machine readable template</vt:lpstr>
      <vt:lpstr>As an Event Consumer, I will…: Use reasoning to combine Events, assert status and place trust</vt:lpstr>
      <vt:lpstr>As an Event Consumer, I am able to…: Develop different reasoning models, and to publish outcomes</vt:lpstr>
      <vt:lpstr>As an Event Producer, I am able to…: Offer customers a valuable new service to manage their data</vt:lpstr>
      <vt:lpstr>As an Ecosystem Participant, I am able to…: Give my customers tools to manage Events relating to them</vt:lpstr>
      <vt:lpstr>As a (trusted) Expert System (service), I am able to…: Earn a return on effort to store and manage access to Events</vt:lpstr>
      <vt:lpstr>PowerPoint Presentation</vt:lpstr>
      <vt:lpstr>Domain knowledge – configuration of a ship</vt:lpstr>
      <vt:lpstr>Domain knowledge – Event types</vt:lpstr>
      <vt:lpstr>PowerPoint Presentation</vt:lpstr>
      <vt:lpstr>PowerPoint Presentation</vt:lpstr>
    </vt:vector>
  </TitlesOfParts>
  <Company>Oliver Wyma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yons, Lauren</dc:creator>
  <cp:keywords>Template version: 2015/11/24;Update Pack: 2015/12/01</cp:keywords>
  <cp:lastModifiedBy>Ben Helps</cp:lastModifiedBy>
  <cp:revision>2480</cp:revision>
  <cp:lastPrinted>2018-07-20T08:02:03Z</cp:lastPrinted>
  <dcterms:created xsi:type="dcterms:W3CDTF">2016-04-26T16:21:37Z</dcterms:created>
  <dcterms:modified xsi:type="dcterms:W3CDTF">2020-03-11T12:11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Version">
    <vt:lpwstr>2015/11/24</vt:lpwstr>
  </property>
  <property fmtid="{D5CDD505-2E9C-101B-9397-08002B2CF9AE}" pid="3" name="LogoName">
    <vt:lpwstr>Oliver Wyman</vt:lpwstr>
  </property>
  <property fmtid="{D5CDD505-2E9C-101B-9397-08002B2CF9AE}" pid="4" name="DocumentMSOLanguageID">
    <vt:lpwstr>msoLanguageIDEnglishUK</vt:lpwstr>
  </property>
</Properties>
</file>